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3.xml" ContentType="application/vnd.openxmlformats-officedocument.theme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  <p:sldMasterId id="2147483662" r:id="rId5"/>
    <p:sldMasterId id="2147483669" r:id="rId6"/>
  </p:sldMasterIdLst>
  <p:notesMasterIdLst>
    <p:notesMasterId r:id="rId18"/>
  </p:notesMasterIdLst>
  <p:sldIdLst>
    <p:sldId id="280" r:id="rId7"/>
    <p:sldId id="388" r:id="rId8"/>
    <p:sldId id="379" r:id="rId9"/>
    <p:sldId id="391" r:id="rId10"/>
    <p:sldId id="401" r:id="rId11"/>
    <p:sldId id="378" r:id="rId12"/>
    <p:sldId id="404" r:id="rId13"/>
    <p:sldId id="395" r:id="rId14"/>
    <p:sldId id="392" r:id="rId15"/>
    <p:sldId id="393" r:id="rId16"/>
    <p:sldId id="394" r:id="rId17"/>
  </p:sldIdLst>
  <p:sldSz cx="12801600" cy="9601200" type="A3"/>
  <p:notesSz cx="6797675" cy="9928225"/>
  <p:defaultTextStyle>
    <a:defPPr>
      <a:defRPr lang="ru-RU"/>
    </a:defPPr>
    <a:lvl1pPr marL="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2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FE51CF5A-24EE-4CD6-AD64-1B459B126982}">
          <p14:sldIdLst>
            <p14:sldId id="280"/>
            <p14:sldId id="388"/>
            <p14:sldId id="379"/>
            <p14:sldId id="391"/>
            <p14:sldId id="401"/>
            <p14:sldId id="378"/>
            <p14:sldId id="404"/>
            <p14:sldId id="395"/>
            <p14:sldId id="392"/>
            <p14:sldId id="393"/>
            <p14:sldId id="39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4">
          <p15:clr>
            <a:srgbClr val="A4A3A4"/>
          </p15:clr>
        </p15:guide>
        <p15:guide id="2" pos="403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Люгай Светлана Ильинична" initials="ЛСИ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593"/>
    <a:srgbClr val="FFDE75"/>
    <a:srgbClr val="C9DAA6"/>
    <a:srgbClr val="BED395"/>
    <a:srgbClr val="F1F5E7"/>
    <a:srgbClr val="3B491F"/>
    <a:srgbClr val="303B19"/>
    <a:srgbClr val="B7CE88"/>
    <a:srgbClr val="F5F8EE"/>
    <a:srgbClr val="EAB2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FECB4D8-DB02-4DC6-A0A2-4F2EBAE1DC90}" styleName="Средний стиль 1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1E171933-4619-4E11-9A3F-F7608DF75F80}" styleName="Средний стиль 1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ABFCF23-3B69-468F-B69F-88F6DE6A72F2}" styleName="Средний стиль 1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EB344D84-9AFB-497E-A393-DC336BA19D2E}" styleName="Средний стиль 3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964" autoAdjust="0"/>
    <p:restoredTop sz="99833" autoAdjust="0"/>
  </p:normalViewPr>
  <p:slideViewPr>
    <p:cSldViewPr>
      <p:cViewPr varScale="1">
        <p:scale>
          <a:sx n="83" d="100"/>
          <a:sy n="83" d="100"/>
        </p:scale>
        <p:origin x="1686" y="90"/>
      </p:cViewPr>
      <p:guideLst>
        <p:guide orient="horz" pos="3024"/>
        <p:guide pos="4032"/>
      </p:guideLst>
    </p:cSldViewPr>
  </p:slid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200" d="100"/>
        <a:sy n="200" d="100"/>
      </p:scale>
      <p:origin x="0" y="-15414"/>
    </p:cViewPr>
  </p:sorterViewPr>
  <p:notesViewPr>
    <p:cSldViewPr>
      <p:cViewPr varScale="1">
        <p:scale>
          <a:sx n="59" d="100"/>
          <a:sy n="59" d="100"/>
        </p:scale>
        <p:origin x="3235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A19F954-02FF-4639-9249-FDE63878F5D2}" type="doc">
      <dgm:prSet loTypeId="urn:microsoft.com/office/officeart/2005/8/layout/hierarchy4" loCatId="list" qsTypeId="urn:microsoft.com/office/officeart/2005/8/quickstyle/simple1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321E4634-07A1-4136-9EF4-2904800F49F4}">
      <dgm:prSet phldrT="[Текст]" custT="1"/>
      <dgm:spPr>
        <a:solidFill>
          <a:srgbClr val="FFDC6D">
            <a:alpha val="89804"/>
          </a:srgbClr>
        </a:solidFill>
        <a:ln w="3175" cap="flat" cmpd="sng" algn="ctr">
          <a:solidFill>
            <a:srgbClr val="F79646">
              <a:lumMod val="50000"/>
            </a:srgbClr>
          </a:solidFill>
          <a:prstDash val="solid"/>
        </a:ln>
        <a:effectLst/>
      </dgm:spPr>
      <dgm:t>
        <a:bodyPr spcFirstLastPara="0" vert="horz" wrap="square" lIns="64770" tIns="64770" rIns="64770" bIns="64770" numCol="1" spcCol="1270" anchor="ctr" anchorCtr="0"/>
        <a:lstStyle/>
        <a:p>
          <a:pPr marL="0" lvl="0" indent="0" algn="ctr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остановление Правительства РФ от </a:t>
          </a: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6.05.2020 № 696 </a:t>
          </a:r>
        </a:p>
        <a:p>
          <a:pPr marL="0" lvl="0" indent="0" algn="ctr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«Об утверждении Правил предоставления субсидий из федерального бюджета российским кредитным организациям на возмещение недополученных ими доходов по кредитам, выданным в 2020 году юридическим лицам и индивидуальным предпринимателям на возобновление деятельности»</a:t>
          </a:r>
          <a:endParaRPr lang="ru-RU" sz="1800" b="1" kern="1200" dirty="0">
            <a:solidFill>
              <a:srgbClr val="EEECE1">
                <a:lumMod val="2500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gm:t>
    </dgm:pt>
    <dgm:pt modelId="{C873D8DA-1ABF-4134-9CD5-4D3788720085}" type="parTrans" cxnId="{D08C5BBE-EBBC-468A-AAC8-4527176BBADF}">
      <dgm:prSet/>
      <dgm:spPr/>
      <dgm:t>
        <a:bodyPr/>
        <a:lstStyle/>
        <a:p>
          <a:endParaRPr lang="ru-RU" sz="2000"/>
        </a:p>
      </dgm:t>
    </dgm:pt>
    <dgm:pt modelId="{F1D8D273-4715-4012-AF89-03434F0A5D58}" type="sibTrans" cxnId="{D08C5BBE-EBBC-468A-AAC8-4527176BBADF}">
      <dgm:prSet/>
      <dgm:spPr/>
      <dgm:t>
        <a:bodyPr/>
        <a:lstStyle/>
        <a:p>
          <a:endParaRPr lang="ru-RU" sz="2000"/>
        </a:p>
      </dgm:t>
    </dgm:pt>
    <dgm:pt modelId="{63802DCE-A291-4B07-8F2F-CDFBD6CE5020}">
      <dgm:prSet phldrT="[Текст]" custT="1"/>
      <dgm:spPr>
        <a:solidFill>
          <a:srgbClr val="C2E175">
            <a:alpha val="50000"/>
          </a:srgbClr>
        </a:solidFill>
        <a:ln w="3175">
          <a:solidFill>
            <a:schemeClr val="accent3">
              <a:lumMod val="75000"/>
            </a:schemeClr>
          </a:solidFill>
        </a:ln>
      </dgm:spPr>
      <dgm:t>
        <a:bodyPr anchor="ctr"/>
        <a:lstStyle/>
        <a:p>
          <a:pPr lvl="0" defTabSz="8001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редитование под льготную ставку 2% (капитализация процентов*) </a:t>
          </a:r>
        </a:p>
        <a:p>
          <a:pPr lvl="0" defTabSz="8001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*</a:t>
          </a:r>
          <a:r>
            <a:rPr lang="ru-RU" sz="14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роценты, начисляемые за пользование кредитом в течение базового периода кредитования и периода наблюдения, переносятся в основной долг</a:t>
          </a:r>
        </a:p>
        <a:p>
          <a:pPr marR="0" lvl="0" defTabSz="800100" eaLnBrk="1" fontAlgn="auto" latinLnBrk="0" hangingPunct="1">
            <a:lnSpc>
              <a:spcPct val="90000"/>
            </a:lnSpc>
            <a:spcBef>
              <a:spcPct val="0"/>
            </a:spcBef>
            <a:spcAft>
              <a:spcPts val="600"/>
            </a:spcAft>
            <a:buClrTx/>
            <a:buSzTx/>
            <a:buFontTx/>
            <a:tabLst/>
            <a:defRPr/>
          </a:pPr>
          <a:r>
            <a:rPr lang="ru-RU" sz="1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озможность снижения суммы кредита (с капитализированными процентами) на 100% или 50%</a:t>
          </a:r>
        </a:p>
        <a:p>
          <a:pPr marR="0" lvl="0" defTabSz="800100" eaLnBrk="1" fontAlgn="auto" latinLnBrk="0" hangingPunct="1">
            <a:lnSpc>
              <a:spcPct val="90000"/>
            </a:lnSpc>
            <a:spcBef>
              <a:spcPct val="0"/>
            </a:spcBef>
            <a:spcAft>
              <a:spcPts val="600"/>
            </a:spcAft>
            <a:buClrTx/>
            <a:buSzTx/>
            <a:buFontTx/>
            <a:tabLst/>
            <a:defRPr/>
          </a:pPr>
          <a:endParaRPr lang="ru-RU" sz="1800" b="1" u="sng" dirty="0" smtClean="0">
            <a:solidFill>
              <a:schemeClr val="bg2">
                <a:lumMod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1465FFC-4892-4F62-87CB-1E2F96F7C419}" type="parTrans" cxnId="{9FCC2CBE-94A9-4A53-814D-AE20452C13D2}">
      <dgm:prSet/>
      <dgm:spPr/>
      <dgm:t>
        <a:bodyPr/>
        <a:lstStyle/>
        <a:p>
          <a:endParaRPr lang="ru-RU"/>
        </a:p>
      </dgm:t>
    </dgm:pt>
    <dgm:pt modelId="{E6FA3BBD-E414-4D3D-9F69-FE85F42765F2}" type="sibTrans" cxnId="{9FCC2CBE-94A9-4A53-814D-AE20452C13D2}">
      <dgm:prSet/>
      <dgm:spPr/>
      <dgm:t>
        <a:bodyPr/>
        <a:lstStyle/>
        <a:p>
          <a:endParaRPr lang="ru-RU"/>
        </a:p>
      </dgm:t>
    </dgm:pt>
    <dgm:pt modelId="{EAD85C6D-6162-49BF-9A2F-57B6CA3E3615}">
      <dgm:prSet phldrT="[Текст]" custT="1"/>
      <dgm:spPr>
        <a:ln w="3175">
          <a:solidFill>
            <a:schemeClr val="accent3">
              <a:lumMod val="50000"/>
            </a:schemeClr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Механизм льготного кредитования ЮЛ и ИП на возобновление деятельности</a:t>
          </a:r>
        </a:p>
        <a:p>
          <a:r>
            <a:rPr lang="ru-RU" sz="18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субсидии предоставляются Минэкономразвития России)</a:t>
          </a:r>
          <a:endParaRPr lang="ru-RU" sz="1800" b="1" dirty="0">
            <a:solidFill>
              <a:schemeClr val="bg2">
                <a:lumMod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80AD362-BDE3-4B36-B31A-19B0864474E9}" type="parTrans" cxnId="{CAC4D7C6-6C83-4C72-90A5-470A66B39ABE}">
      <dgm:prSet/>
      <dgm:spPr/>
      <dgm:t>
        <a:bodyPr/>
        <a:lstStyle/>
        <a:p>
          <a:endParaRPr lang="ru-RU"/>
        </a:p>
      </dgm:t>
    </dgm:pt>
    <dgm:pt modelId="{A86DE762-9736-4AB8-B34F-1E9FC9272F45}" type="sibTrans" cxnId="{CAC4D7C6-6C83-4C72-90A5-470A66B39ABE}">
      <dgm:prSet/>
      <dgm:spPr/>
      <dgm:t>
        <a:bodyPr/>
        <a:lstStyle/>
        <a:p>
          <a:endParaRPr lang="ru-RU"/>
        </a:p>
      </dgm:t>
    </dgm:pt>
    <dgm:pt modelId="{A847C00A-2159-491E-835B-82F8EE713FE5}" type="pres">
      <dgm:prSet presAssocID="{7A19F954-02FF-4639-9249-FDE63878F5D2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E048BB1F-6B2F-41EB-8EE5-5A64207F2AC1}" type="pres">
      <dgm:prSet presAssocID="{321E4634-07A1-4136-9EF4-2904800F49F4}" presName="vertOne" presStyleCnt="0"/>
      <dgm:spPr/>
    </dgm:pt>
    <dgm:pt modelId="{F37B823D-F6F1-4DBE-8886-3BB62AF06471}" type="pres">
      <dgm:prSet presAssocID="{321E4634-07A1-4136-9EF4-2904800F49F4}" presName="txOne" presStyleLbl="node0" presStyleIdx="0" presStyleCnt="1" custScaleY="66492" custLinFactNeighborX="477" custLinFactNeighborY="-61067">
        <dgm:presLayoutVars>
          <dgm:chPref val="3"/>
        </dgm:presLayoutVars>
      </dgm:prSet>
      <dgm:spPr>
        <a:xfrm>
          <a:off x="635" y="2187"/>
          <a:ext cx="11614467" cy="2066263"/>
        </a:xfrm>
        <a:prstGeom prst="roundRect">
          <a:avLst>
            <a:gd name="adj" fmla="val 10000"/>
          </a:avLst>
        </a:prstGeom>
      </dgm:spPr>
      <dgm:t>
        <a:bodyPr/>
        <a:lstStyle/>
        <a:p>
          <a:endParaRPr lang="ru-RU"/>
        </a:p>
      </dgm:t>
    </dgm:pt>
    <dgm:pt modelId="{A160D592-92BD-4934-9AA8-EB90E2D6A4E8}" type="pres">
      <dgm:prSet presAssocID="{321E4634-07A1-4136-9EF4-2904800F49F4}" presName="parTransOne" presStyleCnt="0"/>
      <dgm:spPr/>
    </dgm:pt>
    <dgm:pt modelId="{CEF2E367-EAAF-4B50-B63E-78B0E079E8FE}" type="pres">
      <dgm:prSet presAssocID="{321E4634-07A1-4136-9EF4-2904800F49F4}" presName="horzOne" presStyleCnt="0"/>
      <dgm:spPr/>
    </dgm:pt>
    <dgm:pt modelId="{E035C76C-6A8B-4644-B5E6-D7FE7124D2A1}" type="pres">
      <dgm:prSet presAssocID="{EAD85C6D-6162-49BF-9A2F-57B6CA3E3615}" presName="vertTwo" presStyleCnt="0"/>
      <dgm:spPr/>
    </dgm:pt>
    <dgm:pt modelId="{53BB71C2-0D0B-4C18-A536-49C8CA533C12}" type="pres">
      <dgm:prSet presAssocID="{EAD85C6D-6162-49BF-9A2F-57B6CA3E3615}" presName="txTwo" presStyleLbl="node2" presStyleIdx="0" presStyleCnt="1" custScaleY="30085" custLinFactNeighborX="-92" custLinFactNeighborY="-2656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9EF82BC-130C-45FC-991C-D18968F8A915}" type="pres">
      <dgm:prSet presAssocID="{EAD85C6D-6162-49BF-9A2F-57B6CA3E3615}" presName="parTransTwo" presStyleCnt="0"/>
      <dgm:spPr/>
    </dgm:pt>
    <dgm:pt modelId="{CA715C10-C7D8-4049-ABD8-27BD578505BA}" type="pres">
      <dgm:prSet presAssocID="{EAD85C6D-6162-49BF-9A2F-57B6CA3E3615}" presName="horzTwo" presStyleCnt="0"/>
      <dgm:spPr/>
    </dgm:pt>
    <dgm:pt modelId="{81463519-1BA8-42FB-8A7F-33CD449D0C76}" type="pres">
      <dgm:prSet presAssocID="{63802DCE-A291-4B07-8F2F-CDFBD6CE5020}" presName="vertThree" presStyleCnt="0"/>
      <dgm:spPr/>
    </dgm:pt>
    <dgm:pt modelId="{5ABD2A98-C0A3-4C50-AD28-098F09201D30}" type="pres">
      <dgm:prSet presAssocID="{63802DCE-A291-4B07-8F2F-CDFBD6CE5020}" presName="txThree" presStyleLbl="node3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D7BBE4C-9F03-4087-9339-E644452193C9}" type="pres">
      <dgm:prSet presAssocID="{63802DCE-A291-4B07-8F2F-CDFBD6CE5020}" presName="horzThree" presStyleCnt="0"/>
      <dgm:spPr/>
    </dgm:pt>
  </dgm:ptLst>
  <dgm:cxnLst>
    <dgm:cxn modelId="{0B784A92-FCB7-4B7A-A9BB-865DC4E12DE0}" type="presOf" srcId="{63802DCE-A291-4B07-8F2F-CDFBD6CE5020}" destId="{5ABD2A98-C0A3-4C50-AD28-098F09201D30}" srcOrd="0" destOrd="0" presId="urn:microsoft.com/office/officeart/2005/8/layout/hierarchy4"/>
    <dgm:cxn modelId="{CAC4D7C6-6C83-4C72-90A5-470A66B39ABE}" srcId="{321E4634-07A1-4136-9EF4-2904800F49F4}" destId="{EAD85C6D-6162-49BF-9A2F-57B6CA3E3615}" srcOrd="0" destOrd="0" parTransId="{D80AD362-BDE3-4B36-B31A-19B0864474E9}" sibTransId="{A86DE762-9736-4AB8-B34F-1E9FC9272F45}"/>
    <dgm:cxn modelId="{D08C5BBE-EBBC-468A-AAC8-4527176BBADF}" srcId="{7A19F954-02FF-4639-9249-FDE63878F5D2}" destId="{321E4634-07A1-4136-9EF4-2904800F49F4}" srcOrd="0" destOrd="0" parTransId="{C873D8DA-1ABF-4134-9CD5-4D3788720085}" sibTransId="{F1D8D273-4715-4012-AF89-03434F0A5D58}"/>
    <dgm:cxn modelId="{A20A1018-22B6-4BE3-AEC4-DA600ECAC558}" type="presOf" srcId="{EAD85C6D-6162-49BF-9A2F-57B6CA3E3615}" destId="{53BB71C2-0D0B-4C18-A536-49C8CA533C12}" srcOrd="0" destOrd="0" presId="urn:microsoft.com/office/officeart/2005/8/layout/hierarchy4"/>
    <dgm:cxn modelId="{EB0CD102-32D4-4E57-9A26-D8EE02A4B393}" type="presOf" srcId="{321E4634-07A1-4136-9EF4-2904800F49F4}" destId="{F37B823D-F6F1-4DBE-8886-3BB62AF06471}" srcOrd="0" destOrd="0" presId="urn:microsoft.com/office/officeart/2005/8/layout/hierarchy4"/>
    <dgm:cxn modelId="{9FCC2CBE-94A9-4A53-814D-AE20452C13D2}" srcId="{EAD85C6D-6162-49BF-9A2F-57B6CA3E3615}" destId="{63802DCE-A291-4B07-8F2F-CDFBD6CE5020}" srcOrd="0" destOrd="0" parTransId="{41465FFC-4892-4F62-87CB-1E2F96F7C419}" sibTransId="{E6FA3BBD-E414-4D3D-9F69-FE85F42765F2}"/>
    <dgm:cxn modelId="{F80EEEF6-D9F8-4317-AA70-54217344FC51}" type="presOf" srcId="{7A19F954-02FF-4639-9249-FDE63878F5D2}" destId="{A847C00A-2159-491E-835B-82F8EE713FE5}" srcOrd="0" destOrd="0" presId="urn:microsoft.com/office/officeart/2005/8/layout/hierarchy4"/>
    <dgm:cxn modelId="{9440635C-19D6-4990-B2F3-A02E600284BE}" type="presParOf" srcId="{A847C00A-2159-491E-835B-82F8EE713FE5}" destId="{E048BB1F-6B2F-41EB-8EE5-5A64207F2AC1}" srcOrd="0" destOrd="0" presId="urn:microsoft.com/office/officeart/2005/8/layout/hierarchy4"/>
    <dgm:cxn modelId="{28B5B2FC-C4AE-4217-8FD8-4EA216366986}" type="presParOf" srcId="{E048BB1F-6B2F-41EB-8EE5-5A64207F2AC1}" destId="{F37B823D-F6F1-4DBE-8886-3BB62AF06471}" srcOrd="0" destOrd="0" presId="urn:microsoft.com/office/officeart/2005/8/layout/hierarchy4"/>
    <dgm:cxn modelId="{551B90BA-BE1F-4ED3-BA05-135A828A3ECA}" type="presParOf" srcId="{E048BB1F-6B2F-41EB-8EE5-5A64207F2AC1}" destId="{A160D592-92BD-4934-9AA8-EB90E2D6A4E8}" srcOrd="1" destOrd="0" presId="urn:microsoft.com/office/officeart/2005/8/layout/hierarchy4"/>
    <dgm:cxn modelId="{A08518F9-C741-4792-BE61-0EE65CEC20AE}" type="presParOf" srcId="{E048BB1F-6B2F-41EB-8EE5-5A64207F2AC1}" destId="{CEF2E367-EAAF-4B50-B63E-78B0E079E8FE}" srcOrd="2" destOrd="0" presId="urn:microsoft.com/office/officeart/2005/8/layout/hierarchy4"/>
    <dgm:cxn modelId="{AFEFF1E1-843C-4780-AAF8-44395F5C8A0C}" type="presParOf" srcId="{CEF2E367-EAAF-4B50-B63E-78B0E079E8FE}" destId="{E035C76C-6A8B-4644-B5E6-D7FE7124D2A1}" srcOrd="0" destOrd="0" presId="urn:microsoft.com/office/officeart/2005/8/layout/hierarchy4"/>
    <dgm:cxn modelId="{E1A31364-0617-4C1D-A9B8-EC09C3A08415}" type="presParOf" srcId="{E035C76C-6A8B-4644-B5E6-D7FE7124D2A1}" destId="{53BB71C2-0D0B-4C18-A536-49C8CA533C12}" srcOrd="0" destOrd="0" presId="urn:microsoft.com/office/officeart/2005/8/layout/hierarchy4"/>
    <dgm:cxn modelId="{9044F6CC-C949-42D0-BE6C-E63A51095DA3}" type="presParOf" srcId="{E035C76C-6A8B-4644-B5E6-D7FE7124D2A1}" destId="{99EF82BC-130C-45FC-991C-D18968F8A915}" srcOrd="1" destOrd="0" presId="urn:microsoft.com/office/officeart/2005/8/layout/hierarchy4"/>
    <dgm:cxn modelId="{74734640-6D0B-4D76-9339-A4477AC6A05B}" type="presParOf" srcId="{E035C76C-6A8B-4644-B5E6-D7FE7124D2A1}" destId="{CA715C10-C7D8-4049-ABD8-27BD578505BA}" srcOrd="2" destOrd="0" presId="urn:microsoft.com/office/officeart/2005/8/layout/hierarchy4"/>
    <dgm:cxn modelId="{D931E068-E8D5-4525-AA8A-328766C467DC}" type="presParOf" srcId="{CA715C10-C7D8-4049-ABD8-27BD578505BA}" destId="{81463519-1BA8-42FB-8A7F-33CD449D0C76}" srcOrd="0" destOrd="0" presId="urn:microsoft.com/office/officeart/2005/8/layout/hierarchy4"/>
    <dgm:cxn modelId="{E51EB328-6723-4C18-8413-52E72734738F}" type="presParOf" srcId="{81463519-1BA8-42FB-8A7F-33CD449D0C76}" destId="{5ABD2A98-C0A3-4C50-AD28-098F09201D30}" srcOrd="0" destOrd="0" presId="urn:microsoft.com/office/officeart/2005/8/layout/hierarchy4"/>
    <dgm:cxn modelId="{9783AD0F-CB83-4B5E-8C0C-9F0416C1B747}" type="presParOf" srcId="{81463519-1BA8-42FB-8A7F-33CD449D0C76}" destId="{AD7BBE4C-9F03-4087-9339-E644452193C9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8FDE1E9-2EBD-4DD7-912D-4B852980145C}" type="doc">
      <dgm:prSet loTypeId="urn:microsoft.com/office/officeart/2005/8/layout/list1" loCatId="list" qsTypeId="urn:microsoft.com/office/officeart/2005/8/quickstyle/simple1" qsCatId="simple" csTypeId="urn:microsoft.com/office/officeart/2005/8/colors/accent3_1" csCatId="accent3" phldr="1"/>
      <dgm:spPr/>
      <dgm:t>
        <a:bodyPr/>
        <a:lstStyle/>
        <a:p>
          <a:endParaRPr lang="ru-RU"/>
        </a:p>
      </dgm:t>
    </dgm:pt>
    <dgm:pt modelId="{A9C7BCCE-4505-4A71-B90D-6B71D7E0EC57}">
      <dgm:prSet phldrT="[Текст]" custT="1"/>
      <dgm:spPr>
        <a:solidFill>
          <a:srgbClr val="FFDE75"/>
        </a:solidFill>
        <a:ln>
          <a:solidFill>
            <a:srgbClr val="FFC000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УБСИДИЯ ПО ПРОЦЕНТНОЙ СТАВКЕ</a:t>
          </a:r>
          <a:endParaRPr lang="ru-RU" sz="18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F1A11427-ADC8-423A-B56E-10FD669F26FB}" type="parTrans" cxnId="{11836A4D-DE52-4BE2-8C20-1E90D50A598E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EB9B82DB-0EF4-4A83-B82D-8E60383B7F85}" type="sibTrans" cxnId="{11836A4D-DE52-4BE2-8C20-1E90D50A598E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7BC3655-EFA1-4976-BC77-2901ECAE30AB}">
      <dgm:prSet phldrT="[Текст]" custT="1"/>
      <dgm:spPr>
        <a:solidFill>
          <a:srgbClr val="FFDE75"/>
        </a:solidFill>
        <a:ln>
          <a:solidFill>
            <a:srgbClr val="FFC000"/>
          </a:solidFill>
        </a:ln>
      </dgm:spPr>
      <dgm:t>
        <a:bodyPr/>
        <a:lstStyle/>
        <a:p>
          <a:r>
            <a:rPr lang="ru-RU" sz="18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УБСИДИЯ ПО СПИСАНИЮ</a:t>
          </a:r>
          <a:endParaRPr lang="ru-RU" sz="18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C9747B4-B748-4982-934E-2DE0B9A6CD7F}" type="parTrans" cxnId="{7CA5D213-F4B8-4839-892F-E80B3D0D791B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AC8C893E-C073-4BB7-BEBB-499F42E954BE}" type="sibTrans" cxnId="{7CA5D213-F4B8-4839-892F-E80B3D0D791B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C3797AD3-E2E9-43B2-B65A-49A28EC25967}">
      <dgm:prSet custT="1"/>
      <dgm:spPr>
        <a:solidFill>
          <a:srgbClr val="F1F5E7"/>
        </a:solidFill>
      </dgm:spPr>
      <dgm:t>
        <a:bodyPr/>
        <a:lstStyle/>
        <a:p>
          <a:pPr algn="just">
            <a:spcAft>
              <a:spcPts val="400"/>
            </a:spcAft>
          </a:pP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отношении Заемщика </a:t>
          </a:r>
          <a:r>
            <a:rPr lang="ru-RU" sz="13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о состоянию на 25.11.2020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не введена процедура банкротства, деятельность Клиента не приостановлена в порядке, предусмотренном законодательством Российской Федерации, а Клиент - ИП не должен прекратить деятельность в качестве индивидуального предпринимателя</a:t>
          </a:r>
          <a:endParaRPr lang="ru-RU" sz="13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2DA8447-DFCE-4255-AB93-41C2D7D53EF4}" type="parTrans" cxnId="{70234CF8-42F3-4A99-939B-D16FA238FA8B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02F82056-021A-430D-B527-191702540B79}" type="sibTrans" cxnId="{70234CF8-42F3-4A99-939B-D16FA238FA8B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A460B26D-2739-4F2B-95DC-737B4F95515F}">
      <dgm:prSet phldrT="[Текст]" custT="1"/>
      <dgm:spPr>
        <a:solidFill>
          <a:srgbClr val="F1F5E7"/>
        </a:solidFill>
      </dgm:spPr>
      <dgm:t>
        <a:bodyPr/>
        <a:lstStyle/>
        <a:p>
          <a:pPr algn="l">
            <a:spcAft>
              <a:spcPts val="400"/>
            </a:spcAft>
          </a:pPr>
          <a:endParaRPr lang="ru-RU" sz="500" b="1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1410128-E182-4B58-A987-A630089B0601}" type="parTrans" cxnId="{C3DAD1BC-DBC8-4BDF-88C7-4EEB220FD2BC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F186F4A6-A553-4382-BB8C-121A20F7D71D}" type="sibTrans" cxnId="{C3DAD1BC-DBC8-4BDF-88C7-4EEB220FD2BC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C80027E9-FAF4-45A4-8431-EBC77B3E746E}">
      <dgm:prSet phldrT="[Текст]" custT="1"/>
      <dgm:spPr>
        <a:solidFill>
          <a:srgbClr val="F1F5E7"/>
        </a:solidFill>
      </dgm:spPr>
      <dgm:t>
        <a:bodyPr/>
        <a:lstStyle/>
        <a:p>
          <a:pPr algn="just">
            <a:spcAft>
              <a:spcPts val="400"/>
            </a:spcAft>
          </a:pP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отношении Заемщика </a:t>
          </a:r>
          <a:r>
            <a:rPr lang="ru-RU" sz="13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а дату обращения в Банк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не введена процедура банкротства, деятельность Клиента не приостановлена в порядке, предусмотренном законодательством Российской Федерации, а Клиент - ИП не должен прекратить деятельность в качестве индивидуального предпринимателя.</a:t>
          </a:r>
          <a:endParaRPr lang="ru-RU" sz="13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502B0C7F-CD65-4457-84BD-29A8A3909267}" type="parTrans" cxnId="{9638B1D7-BB00-4F46-9C1F-0AB81E57346C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1297FA3F-06FA-46EF-9B50-49F351626257}" type="sibTrans" cxnId="{9638B1D7-BB00-4F46-9C1F-0AB81E57346C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6EA83F4-20F5-4A62-8640-AF370FC75180}">
      <dgm:prSet phldrT="[Текст]" custT="1"/>
      <dgm:spPr>
        <a:solidFill>
          <a:srgbClr val="F1F5E7">
            <a:alpha val="89804"/>
          </a:srgbClr>
        </a:solidFill>
      </dgm:spPr>
      <dgm:t>
        <a:bodyPr/>
        <a:lstStyle/>
        <a:p>
          <a:pPr marL="114300" algn="just"/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отношении Заемщика </a:t>
          </a:r>
          <a:r>
            <a:rPr lang="ru-RU" sz="13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о состоянию на дату окончания периода наблюдения (31.03.2020)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не введена процедура банкротства, деятельность Клиента не приостановлена в порядке, предусмотренном законодательством Российской Федерации, а Клиент - ИП не должен прекратить деятельность в качестве индивидуального предпринимателя.</a:t>
          </a:r>
          <a:endParaRPr lang="ru-RU" sz="13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1AEE416-F46D-4047-93CE-70DFAF1BCF3D}" type="parTrans" cxnId="{0C1A01FC-DE06-4A3B-B37B-878F6B3A9972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6289F26D-B1BD-47A8-A6B6-CBA1C36D6366}" type="sibTrans" cxnId="{0C1A01FC-DE06-4A3B-B37B-878F6B3A9972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57E3E54F-EBDF-41AC-B6BA-C630CEC6F49C}">
      <dgm:prSet custT="1"/>
      <dgm:spPr>
        <a:solidFill>
          <a:srgbClr val="F1F5E7">
            <a:alpha val="89804"/>
          </a:srgbClr>
        </a:solidFill>
      </dgm:spPr>
      <dgm:t>
        <a:bodyPr/>
        <a:lstStyle/>
        <a:p>
          <a:pPr marL="114300" algn="just"/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редняя заработная плата, выплачиваемая одному работнику Заемщика </a:t>
          </a:r>
          <a:r>
            <a:rPr lang="ru-RU" sz="13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течение периода наблюдения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по кредитной сделке, определяемая с использованием информационного сервиса ФНС России, составила не менее минимального размера оплаты труда (МРОТ)</a:t>
          </a:r>
          <a:endParaRPr lang="ru-RU" sz="13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2A68870-8DDA-4DB9-A16F-CBE53A0AD9FD}" type="parTrans" cxnId="{BBACAA00-E909-4DC1-8D54-A87AADA29948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B963DF84-12D8-48D6-B03C-F6E9B75998D6}" type="sibTrans" cxnId="{BBACAA00-E909-4DC1-8D54-A87AADA29948}">
      <dgm:prSet/>
      <dgm:spPr/>
      <dgm:t>
        <a:bodyPr/>
        <a:lstStyle/>
        <a:p>
          <a:endParaRPr lang="ru-RU">
            <a:solidFill>
              <a:schemeClr val="tx1">
                <a:lumMod val="75000"/>
                <a:lumOff val="25000"/>
              </a:schemeClr>
            </a:solidFill>
          </a:endParaRPr>
        </a:p>
      </dgm:t>
    </dgm:pt>
    <dgm:pt modelId="{76A6EB73-382A-4953-8CD7-D69019EF94EC}">
      <dgm:prSet phldrT="[Текст]" custT="1"/>
      <dgm:spPr>
        <a:solidFill>
          <a:srgbClr val="F1F5E7"/>
        </a:solidFill>
      </dgm:spPr>
      <dgm:t>
        <a:bodyPr/>
        <a:lstStyle/>
        <a:p>
          <a:pPr algn="just">
            <a:spcAft>
              <a:spcPts val="400"/>
            </a:spcAft>
          </a:pP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ключен в реестр социально ориентированных некоммерческих организаций или осуществляет деятельность в наиболее пострадавших отраслях (ПП 434) на </a:t>
          </a:r>
          <a:r>
            <a:rPr lang="ru-RU" sz="13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01.03.2020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или осуществляет деятельность отраслях, требующих поддержки (ПП 696) </a:t>
          </a:r>
          <a:r>
            <a:rPr lang="ru-RU" sz="13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а 01.03.2020</a:t>
          </a:r>
          <a:endParaRPr lang="ru-RU" sz="1300" b="1" u="sng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E574C169-3DA6-4B9A-8D04-67B58537D895}" type="parTrans" cxnId="{57E741E7-8679-4411-86A3-897BA2683EB6}">
      <dgm:prSet/>
      <dgm:spPr/>
      <dgm:t>
        <a:bodyPr/>
        <a:lstStyle/>
        <a:p>
          <a:endParaRPr lang="ru-RU"/>
        </a:p>
      </dgm:t>
    </dgm:pt>
    <dgm:pt modelId="{B8F88481-24BF-426F-8AAB-F370230885E4}" type="sibTrans" cxnId="{57E741E7-8679-4411-86A3-897BA2683EB6}">
      <dgm:prSet/>
      <dgm:spPr/>
      <dgm:t>
        <a:bodyPr/>
        <a:lstStyle/>
        <a:p>
          <a:endParaRPr lang="ru-RU"/>
        </a:p>
      </dgm:t>
    </dgm:pt>
    <dgm:pt modelId="{E02C98F4-7F2E-410A-806A-9546EA584B9D}">
      <dgm:prSet custT="1"/>
      <dgm:spPr>
        <a:solidFill>
          <a:srgbClr val="F1F5E7"/>
        </a:solidFill>
      </dgm:spPr>
      <dgm:t>
        <a:bodyPr/>
        <a:lstStyle/>
        <a:p>
          <a:pPr algn="just">
            <a:spcAft>
              <a:spcPts val="400"/>
            </a:spcAft>
          </a:pP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Численность работников Заемщика </a:t>
          </a:r>
          <a:r>
            <a:rPr lang="ru-RU" sz="13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течение базового периода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кредитной сделки на конец каждого календарного месяца составила 80% и более численности работников Заемщика по состоянию на 01.06.2020</a:t>
          </a:r>
          <a:endParaRPr lang="ru-RU" sz="13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73E2FAF-718A-4ECF-B852-83145040951E}" type="parTrans" cxnId="{65DCC9C5-5BF1-464D-AFAC-B8EF493F8D4C}">
      <dgm:prSet/>
      <dgm:spPr/>
      <dgm:t>
        <a:bodyPr/>
        <a:lstStyle/>
        <a:p>
          <a:endParaRPr lang="ru-RU"/>
        </a:p>
      </dgm:t>
    </dgm:pt>
    <dgm:pt modelId="{8A1D4100-1602-4BDB-AEE4-CEA77141BEB2}" type="sibTrans" cxnId="{65DCC9C5-5BF1-464D-AFAC-B8EF493F8D4C}">
      <dgm:prSet/>
      <dgm:spPr/>
      <dgm:t>
        <a:bodyPr/>
        <a:lstStyle/>
        <a:p>
          <a:endParaRPr lang="ru-RU"/>
        </a:p>
      </dgm:t>
    </dgm:pt>
    <dgm:pt modelId="{5CDE4F0A-DEA6-48DB-B583-7C2EA6D9D3B6}">
      <dgm:prSet phldrT="[Текст]" custT="1"/>
      <dgm:spPr>
        <a:solidFill>
          <a:srgbClr val="F1F5E7"/>
        </a:solidFill>
      </dgm:spPr>
      <dgm:t>
        <a:bodyPr/>
        <a:lstStyle/>
        <a:p>
          <a:pPr algn="just">
            <a:spcAft>
              <a:spcPts val="400"/>
            </a:spcAft>
          </a:pP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Целевое использование кредитных средств</a:t>
          </a:r>
          <a:endParaRPr lang="ru-RU" sz="13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551A2A0-8D7B-4918-8C15-323BAE2DDB54}" type="parTrans" cxnId="{C757E7F0-2293-4293-910F-71519DD9DF13}">
      <dgm:prSet/>
      <dgm:spPr/>
      <dgm:t>
        <a:bodyPr/>
        <a:lstStyle/>
        <a:p>
          <a:endParaRPr lang="ru-RU"/>
        </a:p>
      </dgm:t>
    </dgm:pt>
    <dgm:pt modelId="{7A33BD21-40D3-4B24-87F9-D235E6009395}" type="sibTrans" cxnId="{C757E7F0-2293-4293-910F-71519DD9DF13}">
      <dgm:prSet/>
      <dgm:spPr/>
      <dgm:t>
        <a:bodyPr/>
        <a:lstStyle/>
        <a:p>
          <a:endParaRPr lang="ru-RU"/>
        </a:p>
      </dgm:t>
    </dgm:pt>
    <dgm:pt modelId="{9EC1FAA2-CC0F-452B-9B33-FB2316F015FD}">
      <dgm:prSet custT="1"/>
      <dgm:spPr>
        <a:solidFill>
          <a:srgbClr val="F1F5E7"/>
        </a:solidFill>
      </dgm:spPr>
      <dgm:t>
        <a:bodyPr/>
        <a:lstStyle/>
        <a:p>
          <a:pPr algn="just">
            <a:spcAft>
              <a:spcPts val="400"/>
            </a:spcAft>
          </a:pP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Целевое использование кредитных средств</a:t>
          </a:r>
          <a:endParaRPr lang="ru-RU" sz="13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D0B16FD3-3A50-49D0-A709-C8EBCB6E7682}" type="parTrans" cxnId="{6DAADA23-8D6B-4986-B43A-522DADD43077}">
      <dgm:prSet/>
      <dgm:spPr/>
      <dgm:t>
        <a:bodyPr/>
        <a:lstStyle/>
        <a:p>
          <a:endParaRPr lang="ru-RU"/>
        </a:p>
      </dgm:t>
    </dgm:pt>
    <dgm:pt modelId="{F936173E-84D5-446E-81A1-397B0AE43012}" type="sibTrans" cxnId="{6DAADA23-8D6B-4986-B43A-522DADD43077}">
      <dgm:prSet/>
      <dgm:spPr/>
      <dgm:t>
        <a:bodyPr/>
        <a:lstStyle/>
        <a:p>
          <a:endParaRPr lang="ru-RU"/>
        </a:p>
      </dgm:t>
    </dgm:pt>
    <dgm:pt modelId="{3377C579-3428-4B8D-B0B7-EA35320D0B14}">
      <dgm:prSet custT="1"/>
      <dgm:spPr>
        <a:solidFill>
          <a:srgbClr val="F1F5E7">
            <a:alpha val="89804"/>
          </a:srgbClr>
        </a:solidFill>
      </dgm:spPr>
      <dgm:t>
        <a:bodyPr/>
        <a:lstStyle/>
        <a:p>
          <a:pPr marL="114300" algn="just"/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анком списана задолженность по кредитной сделке не позднее 01.04.2020:</a:t>
          </a:r>
          <a:endParaRPr lang="ru-RU" sz="13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FACD3FF-5C4C-478C-9714-D346694879A9}" type="parTrans" cxnId="{57144652-F196-44A0-8C38-A59BF3E7B72A}">
      <dgm:prSet/>
      <dgm:spPr/>
      <dgm:t>
        <a:bodyPr/>
        <a:lstStyle/>
        <a:p>
          <a:endParaRPr lang="ru-RU"/>
        </a:p>
      </dgm:t>
    </dgm:pt>
    <dgm:pt modelId="{C7610596-1FD4-4866-8359-DB77098B650B}" type="sibTrans" cxnId="{57144652-F196-44A0-8C38-A59BF3E7B72A}">
      <dgm:prSet/>
      <dgm:spPr/>
      <dgm:t>
        <a:bodyPr/>
        <a:lstStyle/>
        <a:p>
          <a:endParaRPr lang="ru-RU"/>
        </a:p>
      </dgm:t>
    </dgm:pt>
    <dgm:pt modelId="{B4B6DF71-54CD-440B-9329-31B19B568FBE}">
      <dgm:prSet custT="1"/>
      <dgm:spPr>
        <a:solidFill>
          <a:srgbClr val="F1F5E7">
            <a:alpha val="89804"/>
          </a:srgbClr>
        </a:solidFill>
      </dgm:spPr>
      <dgm:t>
        <a:bodyPr/>
        <a:lstStyle/>
        <a:p>
          <a:pPr marL="360000" algn="just"/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размере </a:t>
          </a:r>
          <a:r>
            <a:rPr lang="ru-RU" sz="1500" b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50%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- если Численность работников Заемщика </a:t>
          </a:r>
          <a:r>
            <a:rPr lang="ru-RU" sz="13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течение периода наблюдения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по кредитной сделке на конец каждого календарного месяца составила </a:t>
          </a:r>
          <a:r>
            <a:rPr lang="ru-RU" sz="1500" b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80%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и более численности работников Заемщика по состоянию на 01.06.2020;</a:t>
          </a:r>
          <a:endParaRPr lang="ru-RU" sz="1300" b="1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4EFCBCE-86A8-4073-9F5B-605D74950800}" type="parTrans" cxnId="{83FB535B-B2AA-410A-B6A4-C3BDE17F7812}">
      <dgm:prSet/>
      <dgm:spPr/>
      <dgm:t>
        <a:bodyPr/>
        <a:lstStyle/>
        <a:p>
          <a:endParaRPr lang="ru-RU"/>
        </a:p>
      </dgm:t>
    </dgm:pt>
    <dgm:pt modelId="{54C498ED-5538-4634-A6A4-5DE846E00971}" type="sibTrans" cxnId="{83FB535B-B2AA-410A-B6A4-C3BDE17F7812}">
      <dgm:prSet/>
      <dgm:spPr/>
      <dgm:t>
        <a:bodyPr/>
        <a:lstStyle/>
        <a:p>
          <a:endParaRPr lang="ru-RU"/>
        </a:p>
      </dgm:t>
    </dgm:pt>
    <dgm:pt modelId="{67551531-389A-408D-AC60-F72E519D11F1}">
      <dgm:prSet custT="1"/>
      <dgm:spPr>
        <a:solidFill>
          <a:srgbClr val="F1F5E7">
            <a:alpha val="89804"/>
          </a:srgbClr>
        </a:solidFill>
      </dgm:spPr>
      <dgm:t>
        <a:bodyPr/>
        <a:lstStyle/>
        <a:p>
          <a:pPr marL="360000" algn="just"/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размере </a:t>
          </a:r>
          <a:r>
            <a:rPr lang="ru-RU" sz="1500" b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100%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- если численность работников Заемщика </a:t>
          </a:r>
          <a:r>
            <a:rPr lang="ru-RU" sz="1300" b="1" u="sng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течение периода наблюдения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по кредитной сделке на конец каждого календарного месяца составила </a:t>
          </a:r>
          <a:r>
            <a:rPr lang="ru-RU" sz="1500" b="1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90%</a:t>
          </a:r>
          <a:r>
            <a:rPr lang="ru-RU" sz="13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и более численности работников Заемщика по состоянию на 01.06.2020</a:t>
          </a:r>
          <a:endParaRPr lang="ru-RU" sz="1300" b="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6D61EB0-DBD2-4B8E-9D57-B65A804FAB28}" type="parTrans" cxnId="{F492C470-D842-469B-9A72-1065410FB187}">
      <dgm:prSet/>
      <dgm:spPr/>
      <dgm:t>
        <a:bodyPr/>
        <a:lstStyle/>
        <a:p>
          <a:endParaRPr lang="ru-RU"/>
        </a:p>
      </dgm:t>
    </dgm:pt>
    <dgm:pt modelId="{C6E094AA-B735-4C82-98F8-B96D79C7B6EF}" type="sibTrans" cxnId="{F492C470-D842-469B-9A72-1065410FB187}">
      <dgm:prSet/>
      <dgm:spPr/>
      <dgm:t>
        <a:bodyPr/>
        <a:lstStyle/>
        <a:p>
          <a:endParaRPr lang="ru-RU"/>
        </a:p>
      </dgm:t>
    </dgm:pt>
    <dgm:pt modelId="{754EA61A-6C77-4C61-864B-6A05DFBFD8E7}" type="pres">
      <dgm:prSet presAssocID="{98FDE1E9-2EBD-4DD7-912D-4B852980145C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AD7F700-A3A4-4807-8A3D-003D07659DB2}" type="pres">
      <dgm:prSet presAssocID="{A9C7BCCE-4505-4A71-B90D-6B71D7E0EC57}" presName="parentLin" presStyleCnt="0"/>
      <dgm:spPr/>
    </dgm:pt>
    <dgm:pt modelId="{07F06F38-0EBF-46B4-ACA7-68BB0D61C35A}" type="pres">
      <dgm:prSet presAssocID="{A9C7BCCE-4505-4A71-B90D-6B71D7E0EC57}" presName="parentLeftMargin" presStyleLbl="node1" presStyleIdx="0" presStyleCnt="2"/>
      <dgm:spPr/>
      <dgm:t>
        <a:bodyPr/>
        <a:lstStyle/>
        <a:p>
          <a:endParaRPr lang="ru-RU"/>
        </a:p>
      </dgm:t>
    </dgm:pt>
    <dgm:pt modelId="{EDFF3170-E60A-41F1-BFD2-A3B6DD1EA5C6}" type="pres">
      <dgm:prSet presAssocID="{A9C7BCCE-4505-4A71-B90D-6B71D7E0EC57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C07C0FE-7CAE-4C4B-A895-51E4E9D2152E}" type="pres">
      <dgm:prSet presAssocID="{A9C7BCCE-4505-4A71-B90D-6B71D7E0EC57}" presName="negativeSpace" presStyleCnt="0"/>
      <dgm:spPr/>
    </dgm:pt>
    <dgm:pt modelId="{9D78807E-13C2-4F21-9806-D97AF63DE100}" type="pres">
      <dgm:prSet presAssocID="{A9C7BCCE-4505-4A71-B90D-6B71D7E0EC57}" presName="childText" presStyleLbl="conFgAcc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88EC62-8D50-4A05-9DE7-A771B0F0D1C1}" type="pres">
      <dgm:prSet presAssocID="{EB9B82DB-0EF4-4A83-B82D-8E60383B7F85}" presName="spaceBetweenRectangles" presStyleCnt="0"/>
      <dgm:spPr/>
    </dgm:pt>
    <dgm:pt modelId="{A712C115-FE99-47F6-8F12-AB9CD75B854C}" type="pres">
      <dgm:prSet presAssocID="{B7BC3655-EFA1-4976-BC77-2901ECAE30AB}" presName="parentLin" presStyleCnt="0"/>
      <dgm:spPr/>
    </dgm:pt>
    <dgm:pt modelId="{092A8275-9AB6-439E-B407-5B2A871D77BD}" type="pres">
      <dgm:prSet presAssocID="{B7BC3655-EFA1-4976-BC77-2901ECAE30AB}" presName="parentLeftMargin" presStyleLbl="node1" presStyleIdx="0" presStyleCnt="2"/>
      <dgm:spPr/>
      <dgm:t>
        <a:bodyPr/>
        <a:lstStyle/>
        <a:p>
          <a:endParaRPr lang="ru-RU"/>
        </a:p>
      </dgm:t>
    </dgm:pt>
    <dgm:pt modelId="{B2D593D6-BD6F-4646-ADD6-DF7F72C9CF54}" type="pres">
      <dgm:prSet presAssocID="{B7BC3655-EFA1-4976-BC77-2901ECAE30AB}" presName="parentText" presStyleLbl="node1" presStyleIdx="1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72CB73-4708-4440-BCD4-4A2FDE597873}" type="pres">
      <dgm:prSet presAssocID="{B7BC3655-EFA1-4976-BC77-2901ECAE30AB}" presName="negativeSpace" presStyleCnt="0"/>
      <dgm:spPr/>
    </dgm:pt>
    <dgm:pt modelId="{C6A822CF-7415-41F8-9291-ACD8C9133747}" type="pres">
      <dgm:prSet presAssocID="{B7BC3655-EFA1-4976-BC77-2901ECAE30AB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C1A01FC-DE06-4A3B-B37B-878F6B3A9972}" srcId="{B7BC3655-EFA1-4976-BC77-2901ECAE30AB}" destId="{B6EA83F4-20F5-4A62-8640-AF370FC75180}" srcOrd="0" destOrd="0" parTransId="{71AEE416-F46D-4047-93CE-70DFAF1BCF3D}" sibTransId="{6289F26D-B1BD-47A8-A6B6-CBA1C36D6366}"/>
    <dgm:cxn modelId="{9638B1D7-BB00-4F46-9C1F-0AB81E57346C}" srcId="{A9C7BCCE-4505-4A71-B90D-6B71D7E0EC57}" destId="{C80027E9-FAF4-45A4-8431-EBC77B3E746E}" srcOrd="1" destOrd="0" parTransId="{502B0C7F-CD65-4457-84BD-29A8A3909267}" sibTransId="{1297FA3F-06FA-46EF-9B50-49F351626257}"/>
    <dgm:cxn modelId="{67E52B7F-E61C-49C3-8AFB-A2DB7DD18BA5}" type="presOf" srcId="{B4B6DF71-54CD-440B-9329-31B19B568FBE}" destId="{C6A822CF-7415-41F8-9291-ACD8C9133747}" srcOrd="0" destOrd="3" presId="urn:microsoft.com/office/officeart/2005/8/layout/list1"/>
    <dgm:cxn modelId="{3BC36FDC-4359-49A3-82E9-2C87206CA565}" type="presOf" srcId="{C80027E9-FAF4-45A4-8431-EBC77B3E746E}" destId="{9D78807E-13C2-4F21-9806-D97AF63DE100}" srcOrd="0" destOrd="1" presId="urn:microsoft.com/office/officeart/2005/8/layout/list1"/>
    <dgm:cxn modelId="{7EF3E49C-9880-4177-AEC9-F83535751897}" type="presOf" srcId="{98FDE1E9-2EBD-4DD7-912D-4B852980145C}" destId="{754EA61A-6C77-4C61-864B-6A05DFBFD8E7}" srcOrd="0" destOrd="0" presId="urn:microsoft.com/office/officeart/2005/8/layout/list1"/>
    <dgm:cxn modelId="{6DAADA23-8D6B-4986-B43A-522DADD43077}" srcId="{A9C7BCCE-4505-4A71-B90D-6B71D7E0EC57}" destId="{9EC1FAA2-CC0F-452B-9B33-FB2316F015FD}" srcOrd="6" destOrd="0" parTransId="{D0B16FD3-3A50-49D0-A709-C8EBCB6E7682}" sibTransId="{F936173E-84D5-446E-81A1-397B0AE43012}"/>
    <dgm:cxn modelId="{70983DCC-BAA4-4EC0-AE73-A0FC1C5B3390}" type="presOf" srcId="{B7BC3655-EFA1-4976-BC77-2901ECAE30AB}" destId="{092A8275-9AB6-439E-B407-5B2A871D77BD}" srcOrd="0" destOrd="0" presId="urn:microsoft.com/office/officeart/2005/8/layout/list1"/>
    <dgm:cxn modelId="{83FB535B-B2AA-410A-B6A4-C3BDE17F7812}" srcId="{B7BC3655-EFA1-4976-BC77-2901ECAE30AB}" destId="{B4B6DF71-54CD-440B-9329-31B19B568FBE}" srcOrd="3" destOrd="0" parTransId="{84EFCBCE-86A8-4073-9F5B-605D74950800}" sibTransId="{54C498ED-5538-4634-A6A4-5DE846E00971}"/>
    <dgm:cxn modelId="{C6DAD3C7-C02F-45A0-90FD-D9C48F1EC7AF}" type="presOf" srcId="{5CDE4F0A-DEA6-48DB-B583-7C2EA6D9D3B6}" destId="{9D78807E-13C2-4F21-9806-D97AF63DE100}" srcOrd="0" destOrd="2" presId="urn:microsoft.com/office/officeart/2005/8/layout/list1"/>
    <dgm:cxn modelId="{054A06C7-B051-4B94-8630-BA6D5980F25F}" type="presOf" srcId="{B6EA83F4-20F5-4A62-8640-AF370FC75180}" destId="{C6A822CF-7415-41F8-9291-ACD8C9133747}" srcOrd="0" destOrd="0" presId="urn:microsoft.com/office/officeart/2005/8/layout/list1"/>
    <dgm:cxn modelId="{BBACAA00-E909-4DC1-8D54-A87AADA29948}" srcId="{B7BC3655-EFA1-4976-BC77-2901ECAE30AB}" destId="{57E3E54F-EBDF-41AC-B6BA-C630CEC6F49C}" srcOrd="1" destOrd="0" parTransId="{82A68870-8DDA-4DB9-A16F-CBE53A0AD9FD}" sibTransId="{B963DF84-12D8-48D6-B03C-F6E9B75998D6}"/>
    <dgm:cxn modelId="{57144652-F196-44A0-8C38-A59BF3E7B72A}" srcId="{B7BC3655-EFA1-4976-BC77-2901ECAE30AB}" destId="{3377C579-3428-4B8D-B0B7-EA35320D0B14}" srcOrd="2" destOrd="0" parTransId="{3FACD3FF-5C4C-478C-9714-D346694879A9}" sibTransId="{C7610596-1FD4-4866-8359-DB77098B650B}"/>
    <dgm:cxn modelId="{54C63E6A-468D-4DA0-8FDC-2EA5564E1103}" type="presOf" srcId="{57E3E54F-EBDF-41AC-B6BA-C630CEC6F49C}" destId="{C6A822CF-7415-41F8-9291-ACD8C9133747}" srcOrd="0" destOrd="1" presId="urn:microsoft.com/office/officeart/2005/8/layout/list1"/>
    <dgm:cxn modelId="{6C1F444C-6055-46F4-8BF1-53C2AF96A712}" type="presOf" srcId="{3377C579-3428-4B8D-B0B7-EA35320D0B14}" destId="{C6A822CF-7415-41F8-9291-ACD8C9133747}" srcOrd="0" destOrd="2" presId="urn:microsoft.com/office/officeart/2005/8/layout/list1"/>
    <dgm:cxn modelId="{849DBD5D-9227-4718-B4E6-137E211C090C}" type="presOf" srcId="{76A6EB73-382A-4953-8CD7-D69019EF94EC}" destId="{9D78807E-13C2-4F21-9806-D97AF63DE100}" srcOrd="0" destOrd="0" presId="urn:microsoft.com/office/officeart/2005/8/layout/list1"/>
    <dgm:cxn modelId="{C7D1BD24-2A55-424B-B393-ECDDE0FE1F2C}" type="presOf" srcId="{A9C7BCCE-4505-4A71-B90D-6B71D7E0EC57}" destId="{EDFF3170-E60A-41F1-BFD2-A3B6DD1EA5C6}" srcOrd="1" destOrd="0" presId="urn:microsoft.com/office/officeart/2005/8/layout/list1"/>
    <dgm:cxn modelId="{66331EB1-429D-4A3C-9AA1-6CAAB8E23B57}" type="presOf" srcId="{67551531-389A-408D-AC60-F72E519D11F1}" destId="{C6A822CF-7415-41F8-9291-ACD8C9133747}" srcOrd="0" destOrd="4" presId="urn:microsoft.com/office/officeart/2005/8/layout/list1"/>
    <dgm:cxn modelId="{0EF17A65-342E-4C6F-882E-272478A953ED}" type="presOf" srcId="{A460B26D-2739-4F2B-95DC-737B4F95515F}" destId="{9D78807E-13C2-4F21-9806-D97AF63DE100}" srcOrd="0" destOrd="3" presId="urn:microsoft.com/office/officeart/2005/8/layout/list1"/>
    <dgm:cxn modelId="{651A3566-DDA6-403E-958C-C398D148F1E8}" type="presOf" srcId="{C3797AD3-E2E9-43B2-B65A-49A28EC25967}" destId="{9D78807E-13C2-4F21-9806-D97AF63DE100}" srcOrd="0" destOrd="4" presId="urn:microsoft.com/office/officeart/2005/8/layout/list1"/>
    <dgm:cxn modelId="{C3DAD1BC-DBC8-4BDF-88C7-4EEB220FD2BC}" srcId="{A9C7BCCE-4505-4A71-B90D-6B71D7E0EC57}" destId="{A460B26D-2739-4F2B-95DC-737B4F95515F}" srcOrd="3" destOrd="0" parTransId="{D1410128-E182-4B58-A987-A630089B0601}" sibTransId="{F186F4A6-A553-4382-BB8C-121A20F7D71D}"/>
    <dgm:cxn modelId="{70234CF8-42F3-4A99-939B-D16FA238FA8B}" srcId="{A9C7BCCE-4505-4A71-B90D-6B71D7E0EC57}" destId="{C3797AD3-E2E9-43B2-B65A-49A28EC25967}" srcOrd="4" destOrd="0" parTransId="{E2DA8447-DFCE-4255-AB93-41C2D7D53EF4}" sibTransId="{02F82056-021A-430D-B527-191702540B79}"/>
    <dgm:cxn modelId="{57E741E7-8679-4411-86A3-897BA2683EB6}" srcId="{A9C7BCCE-4505-4A71-B90D-6B71D7E0EC57}" destId="{76A6EB73-382A-4953-8CD7-D69019EF94EC}" srcOrd="0" destOrd="0" parTransId="{E574C169-3DA6-4B9A-8D04-67B58537D895}" sibTransId="{B8F88481-24BF-426F-8AAB-F370230885E4}"/>
    <dgm:cxn modelId="{F492C470-D842-469B-9A72-1065410FB187}" srcId="{B7BC3655-EFA1-4976-BC77-2901ECAE30AB}" destId="{67551531-389A-408D-AC60-F72E519D11F1}" srcOrd="4" destOrd="0" parTransId="{96D61EB0-DBD2-4B8E-9D57-B65A804FAB28}" sibTransId="{C6E094AA-B735-4C82-98F8-B96D79C7B6EF}"/>
    <dgm:cxn modelId="{CC0056F6-466B-404D-9210-7B3795C2113E}" type="presOf" srcId="{A9C7BCCE-4505-4A71-B90D-6B71D7E0EC57}" destId="{07F06F38-0EBF-46B4-ACA7-68BB0D61C35A}" srcOrd="0" destOrd="0" presId="urn:microsoft.com/office/officeart/2005/8/layout/list1"/>
    <dgm:cxn modelId="{1E6EC83D-979E-4417-A25C-3A8842AB479F}" type="presOf" srcId="{9EC1FAA2-CC0F-452B-9B33-FB2316F015FD}" destId="{9D78807E-13C2-4F21-9806-D97AF63DE100}" srcOrd="0" destOrd="6" presId="urn:microsoft.com/office/officeart/2005/8/layout/list1"/>
    <dgm:cxn modelId="{3E4C726F-08B8-43EB-9ACE-14AC47D12443}" type="presOf" srcId="{E02C98F4-7F2E-410A-806A-9546EA584B9D}" destId="{9D78807E-13C2-4F21-9806-D97AF63DE100}" srcOrd="0" destOrd="5" presId="urn:microsoft.com/office/officeart/2005/8/layout/list1"/>
    <dgm:cxn modelId="{11836A4D-DE52-4BE2-8C20-1E90D50A598E}" srcId="{98FDE1E9-2EBD-4DD7-912D-4B852980145C}" destId="{A9C7BCCE-4505-4A71-B90D-6B71D7E0EC57}" srcOrd="0" destOrd="0" parTransId="{F1A11427-ADC8-423A-B56E-10FD669F26FB}" sibTransId="{EB9B82DB-0EF4-4A83-B82D-8E60383B7F85}"/>
    <dgm:cxn modelId="{C757E7F0-2293-4293-910F-71519DD9DF13}" srcId="{A9C7BCCE-4505-4A71-B90D-6B71D7E0EC57}" destId="{5CDE4F0A-DEA6-48DB-B583-7C2EA6D9D3B6}" srcOrd="2" destOrd="0" parTransId="{D551A2A0-8D7B-4918-8C15-323BAE2DDB54}" sibTransId="{7A33BD21-40D3-4B24-87F9-D235E6009395}"/>
    <dgm:cxn modelId="{65DCC9C5-5BF1-464D-AFAC-B8EF493F8D4C}" srcId="{A9C7BCCE-4505-4A71-B90D-6B71D7E0EC57}" destId="{E02C98F4-7F2E-410A-806A-9546EA584B9D}" srcOrd="5" destOrd="0" parTransId="{173E2FAF-718A-4ECF-B852-83145040951E}" sibTransId="{8A1D4100-1602-4BDB-AEE4-CEA77141BEB2}"/>
    <dgm:cxn modelId="{D2DAB256-6D48-4F6F-8893-6A21D08183B5}" type="presOf" srcId="{B7BC3655-EFA1-4976-BC77-2901ECAE30AB}" destId="{B2D593D6-BD6F-4646-ADD6-DF7F72C9CF54}" srcOrd="1" destOrd="0" presId="urn:microsoft.com/office/officeart/2005/8/layout/list1"/>
    <dgm:cxn modelId="{7CA5D213-F4B8-4839-892F-E80B3D0D791B}" srcId="{98FDE1E9-2EBD-4DD7-912D-4B852980145C}" destId="{B7BC3655-EFA1-4976-BC77-2901ECAE30AB}" srcOrd="1" destOrd="0" parTransId="{9C9747B4-B748-4982-934E-2DE0B9A6CD7F}" sibTransId="{AC8C893E-C073-4BB7-BEBB-499F42E954BE}"/>
    <dgm:cxn modelId="{95D156E4-BD47-4639-B566-85A2BEE599E8}" type="presParOf" srcId="{754EA61A-6C77-4C61-864B-6A05DFBFD8E7}" destId="{7AD7F700-A3A4-4807-8A3D-003D07659DB2}" srcOrd="0" destOrd="0" presId="urn:microsoft.com/office/officeart/2005/8/layout/list1"/>
    <dgm:cxn modelId="{E2FB5DCE-7CFF-4F46-A3F2-30D6AF14DBA3}" type="presParOf" srcId="{7AD7F700-A3A4-4807-8A3D-003D07659DB2}" destId="{07F06F38-0EBF-46B4-ACA7-68BB0D61C35A}" srcOrd="0" destOrd="0" presId="urn:microsoft.com/office/officeart/2005/8/layout/list1"/>
    <dgm:cxn modelId="{BD28D48A-04C5-423E-8A06-60CA5F2CCB68}" type="presParOf" srcId="{7AD7F700-A3A4-4807-8A3D-003D07659DB2}" destId="{EDFF3170-E60A-41F1-BFD2-A3B6DD1EA5C6}" srcOrd="1" destOrd="0" presId="urn:microsoft.com/office/officeart/2005/8/layout/list1"/>
    <dgm:cxn modelId="{1A0A8B6D-14C4-4C0B-B476-0731B0BBAD21}" type="presParOf" srcId="{754EA61A-6C77-4C61-864B-6A05DFBFD8E7}" destId="{2C07C0FE-7CAE-4C4B-A895-51E4E9D2152E}" srcOrd="1" destOrd="0" presId="urn:microsoft.com/office/officeart/2005/8/layout/list1"/>
    <dgm:cxn modelId="{D350659F-6ED6-48D8-8E85-7AB92BB4E55E}" type="presParOf" srcId="{754EA61A-6C77-4C61-864B-6A05DFBFD8E7}" destId="{9D78807E-13C2-4F21-9806-D97AF63DE100}" srcOrd="2" destOrd="0" presId="urn:microsoft.com/office/officeart/2005/8/layout/list1"/>
    <dgm:cxn modelId="{13F9A064-4630-45E9-A027-27B9072BF89D}" type="presParOf" srcId="{754EA61A-6C77-4C61-864B-6A05DFBFD8E7}" destId="{9788EC62-8D50-4A05-9DE7-A771B0F0D1C1}" srcOrd="3" destOrd="0" presId="urn:microsoft.com/office/officeart/2005/8/layout/list1"/>
    <dgm:cxn modelId="{7256BC61-FCCB-4F8C-8501-AA08CB1CB7E6}" type="presParOf" srcId="{754EA61A-6C77-4C61-864B-6A05DFBFD8E7}" destId="{A712C115-FE99-47F6-8F12-AB9CD75B854C}" srcOrd="4" destOrd="0" presId="urn:microsoft.com/office/officeart/2005/8/layout/list1"/>
    <dgm:cxn modelId="{FA0F54FF-3A90-4AC0-AD6C-B6D8AA5154F8}" type="presParOf" srcId="{A712C115-FE99-47F6-8F12-AB9CD75B854C}" destId="{092A8275-9AB6-439E-B407-5B2A871D77BD}" srcOrd="0" destOrd="0" presId="urn:microsoft.com/office/officeart/2005/8/layout/list1"/>
    <dgm:cxn modelId="{13AFB0FD-9A65-46D2-B33E-B409B3A3CAC5}" type="presParOf" srcId="{A712C115-FE99-47F6-8F12-AB9CD75B854C}" destId="{B2D593D6-BD6F-4646-ADD6-DF7F72C9CF54}" srcOrd="1" destOrd="0" presId="urn:microsoft.com/office/officeart/2005/8/layout/list1"/>
    <dgm:cxn modelId="{1D0637DE-21EE-423E-846F-AD668931AAEE}" type="presParOf" srcId="{754EA61A-6C77-4C61-864B-6A05DFBFD8E7}" destId="{BE72CB73-4708-4440-BCD4-4A2FDE597873}" srcOrd="5" destOrd="0" presId="urn:microsoft.com/office/officeart/2005/8/layout/list1"/>
    <dgm:cxn modelId="{50A99FC2-D89C-4F75-928A-33CDEE0963B2}" type="presParOf" srcId="{754EA61A-6C77-4C61-864B-6A05DFBFD8E7}" destId="{C6A822CF-7415-41F8-9291-ACD8C9133747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37B823D-F6F1-4DBE-8886-3BB62AF06471}">
      <dsp:nvSpPr>
        <dsp:cNvPr id="0" name=""/>
        <dsp:cNvSpPr/>
      </dsp:nvSpPr>
      <dsp:spPr>
        <a:xfrm>
          <a:off x="11343" y="0"/>
          <a:ext cx="11604394" cy="1846719"/>
        </a:xfrm>
        <a:prstGeom prst="roundRect">
          <a:avLst>
            <a:gd name="adj" fmla="val 10000"/>
          </a:avLst>
        </a:prstGeom>
        <a:solidFill>
          <a:srgbClr val="FFDC6D">
            <a:alpha val="89804"/>
          </a:srgbClr>
        </a:solidFill>
        <a:ln w="3175" cap="flat" cmpd="sng" algn="ctr">
          <a:solidFill>
            <a:srgbClr val="F79646">
              <a:lumMod val="5000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marL="0" lvl="0" indent="0" algn="ctr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Постановление Правительства РФ от </a:t>
          </a: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16.05.2020 № 696 </a:t>
          </a:r>
        </a:p>
        <a:p>
          <a:pPr marL="0" lvl="0" indent="0" algn="ctr" defTabSz="7334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 smtClean="0">
              <a:solidFill>
                <a:srgbClr val="EEECE1">
                  <a:lumMod val="25000"/>
                </a:srgb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rPr>
            <a:t>«Об утверждении Правил предоставления субсидий из федерального бюджета российским кредитным организациям на возмещение недополученных ими доходов по кредитам, выданным в 2020 году юридическим лицам и индивидуальным предпринимателям на возобновление деятельности»</a:t>
          </a:r>
          <a:endParaRPr lang="ru-RU" sz="1800" b="1" kern="1200" dirty="0">
            <a:solidFill>
              <a:srgbClr val="EEECE1">
                <a:lumMod val="25000"/>
              </a:srgbClr>
            </a:solidFill>
            <a:latin typeface="Arial" panose="020B0604020202020204" pitchFamily="34" charset="0"/>
            <a:ea typeface="+mn-ea"/>
            <a:cs typeface="Arial" panose="020B0604020202020204" pitchFamily="34" charset="0"/>
          </a:endParaRPr>
        </a:p>
      </dsp:txBody>
      <dsp:txXfrm>
        <a:off x="65432" y="54089"/>
        <a:ext cx="11496216" cy="1738541"/>
      </dsp:txXfrm>
    </dsp:sp>
    <dsp:sp modelId="{53BB71C2-0D0B-4C18-A536-49C8CA533C12}">
      <dsp:nvSpPr>
        <dsp:cNvPr id="0" name=""/>
        <dsp:cNvSpPr/>
      </dsp:nvSpPr>
      <dsp:spPr>
        <a:xfrm>
          <a:off x="6343" y="2066445"/>
          <a:ext cx="11581740" cy="835567"/>
        </a:xfrm>
        <a:prstGeom prst="roundRect">
          <a:avLst>
            <a:gd name="adj" fmla="val 10000"/>
          </a:avLst>
        </a:prstGeom>
        <a:solidFill>
          <a:schemeClr val="accent3">
            <a:alpha val="70000"/>
            <a:hueOff val="0"/>
            <a:satOff val="0"/>
            <a:lumOff val="0"/>
            <a:alphaOff val="0"/>
          </a:schemeClr>
        </a:solidFill>
        <a:ln w="3175" cap="flat" cmpd="sng" algn="ctr">
          <a:solidFill>
            <a:schemeClr val="accent3">
              <a:lumMod val="50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Механизм льготного кредитования ЮЛ и ИП на возобновление деятельности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(субсидии предоставляются Минэкономразвития России)</a:t>
          </a:r>
          <a:endParaRPr lang="ru-RU" sz="1800" b="1" kern="1200" dirty="0">
            <a:solidFill>
              <a:schemeClr val="bg2">
                <a:lumMod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0816" y="2090918"/>
        <a:ext cx="11532794" cy="786621"/>
      </dsp:txXfrm>
    </dsp:sp>
    <dsp:sp modelId="{5ABD2A98-C0A3-4C50-AD28-098F09201D30}">
      <dsp:nvSpPr>
        <dsp:cNvPr id="0" name=""/>
        <dsp:cNvSpPr/>
      </dsp:nvSpPr>
      <dsp:spPr>
        <a:xfrm>
          <a:off x="16998" y="3279475"/>
          <a:ext cx="11581740" cy="2777355"/>
        </a:xfrm>
        <a:prstGeom prst="roundRect">
          <a:avLst>
            <a:gd name="adj" fmla="val 10000"/>
          </a:avLst>
        </a:prstGeom>
        <a:solidFill>
          <a:srgbClr val="C2E175">
            <a:alpha val="50000"/>
          </a:srgbClr>
        </a:solidFill>
        <a:ln w="3175" cap="flat" cmpd="sng" algn="ctr">
          <a:solidFill>
            <a:schemeClr val="accent3">
              <a:lumMod val="7500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Кредитование под льготную ставку 2% (капитализация процентов*) 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ts val="600"/>
            </a:spcAft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*</a:t>
          </a:r>
          <a:r>
            <a:rPr lang="ru-RU" sz="14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роценты, начисляемые за пользование кредитом в течение базового периода кредитования и периода наблюдения, переносятся в основной долг</a:t>
          </a:r>
        </a:p>
        <a:p>
          <a:pPr marR="0" lvl="0" algn="ctr" defTabSz="800100" eaLnBrk="1" fontAlgn="auto" latinLnBrk="0" hangingPunct="1">
            <a:lnSpc>
              <a:spcPct val="90000"/>
            </a:lnSpc>
            <a:spcBef>
              <a:spcPct val="0"/>
            </a:spcBef>
            <a:spcAft>
              <a:spcPts val="600"/>
            </a:spcAft>
            <a:buClrTx/>
            <a:buSzTx/>
            <a:buFontTx/>
            <a:tabLst/>
            <a:defRPr/>
          </a:pPr>
          <a:r>
            <a:rPr lang="ru-RU" sz="1800" b="1" kern="12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озможность снижения суммы кредита (с капитализированными процентами) на 100% или 50%</a:t>
          </a:r>
        </a:p>
        <a:p>
          <a:pPr marR="0" lvl="0" algn="ctr" defTabSz="800100" eaLnBrk="1" fontAlgn="auto" latinLnBrk="0" hangingPunct="1">
            <a:lnSpc>
              <a:spcPct val="90000"/>
            </a:lnSpc>
            <a:spcBef>
              <a:spcPct val="0"/>
            </a:spcBef>
            <a:spcAft>
              <a:spcPts val="600"/>
            </a:spcAft>
            <a:buClrTx/>
            <a:buSzTx/>
            <a:buFontTx/>
            <a:tabLst/>
            <a:defRPr/>
          </a:pPr>
          <a:endParaRPr lang="ru-RU" sz="1800" b="1" u="sng" kern="1200" dirty="0" smtClean="0">
            <a:solidFill>
              <a:schemeClr val="bg2">
                <a:lumMod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98344" y="3360821"/>
        <a:ext cx="11419048" cy="261466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78807E-13C2-4F21-9806-D97AF63DE100}">
      <dsp:nvSpPr>
        <dsp:cNvPr id="0" name=""/>
        <dsp:cNvSpPr/>
      </dsp:nvSpPr>
      <dsp:spPr>
        <a:xfrm>
          <a:off x="0" y="217291"/>
          <a:ext cx="9167264" cy="3521700"/>
        </a:xfrm>
        <a:prstGeom prst="rect">
          <a:avLst/>
        </a:prstGeom>
        <a:solidFill>
          <a:srgbClr val="F1F5E7"/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482" tIns="270764" rIns="711482" bIns="92456" numCol="1" spcCol="1270" anchor="t" anchorCtr="0">
          <a:noAutofit/>
        </a:bodyPr>
        <a:lstStyle/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ts val="4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ключен в реестр социально ориентированных некоммерческих организаций или осуществляет деятельность в наиболее пострадавших отраслях (ПП 434) на </a:t>
          </a:r>
          <a:r>
            <a:rPr lang="ru-RU" sz="13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01.03.2020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или осуществляет деятельность отраслях, требующих поддержки (ПП 696) </a:t>
          </a:r>
          <a:r>
            <a:rPr lang="ru-RU" sz="13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а 01.03.2020</a:t>
          </a:r>
          <a:endParaRPr lang="ru-RU" sz="1300" b="1" u="sng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ts val="4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отношении Заемщика </a:t>
          </a:r>
          <a:r>
            <a:rPr lang="ru-RU" sz="13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на дату обращения в Банк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не введена процедура банкротства, деятельность Клиента не приостановлена в порядке, предусмотренном законодательством Российской Федерации, а Клиент - ИП не должен прекратить деятельность в качестве индивидуального предпринимателя.</a:t>
          </a:r>
          <a:endParaRPr lang="ru-RU" sz="13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ts val="4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Целевое использование кредитных средств</a:t>
          </a:r>
          <a:endParaRPr lang="ru-RU" sz="13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57150" lvl="1" indent="-57150" algn="l" defTabSz="222250">
            <a:lnSpc>
              <a:spcPct val="90000"/>
            </a:lnSpc>
            <a:spcBef>
              <a:spcPct val="0"/>
            </a:spcBef>
            <a:spcAft>
              <a:spcPts val="400"/>
            </a:spcAft>
            <a:buChar char="••"/>
          </a:pPr>
          <a:endParaRPr lang="ru-RU" sz="5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ts val="4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отношении Заемщика </a:t>
          </a:r>
          <a:r>
            <a:rPr lang="ru-RU" sz="13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о состоянию на 25.11.2020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не введена процедура банкротства, деятельность Клиента не приостановлена в порядке, предусмотренном законодательством Российской Федерации, а Клиент - ИП не должен прекратить деятельность в качестве индивидуального предпринимателя</a:t>
          </a:r>
          <a:endParaRPr lang="ru-RU" sz="1300" b="1" kern="1200" dirty="0">
            <a:solidFill>
              <a:srgbClr val="FF0000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ts val="4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Численность работников Заемщика </a:t>
          </a:r>
          <a:r>
            <a:rPr lang="ru-RU" sz="13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течение базового периода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кредитной сделки на конец каждого календарного месяца составила 80% и более численности работников Заемщика по состоянию на 01.06.2020</a:t>
          </a:r>
          <a:endParaRPr lang="ru-RU" sz="13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ts val="4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Целевое использование кредитных средств</a:t>
          </a:r>
          <a:endParaRPr lang="ru-RU" sz="13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217291"/>
        <a:ext cx="9167264" cy="3521700"/>
      </dsp:txXfrm>
    </dsp:sp>
    <dsp:sp modelId="{EDFF3170-E60A-41F1-BFD2-A3B6DD1EA5C6}">
      <dsp:nvSpPr>
        <dsp:cNvPr id="0" name=""/>
        <dsp:cNvSpPr/>
      </dsp:nvSpPr>
      <dsp:spPr>
        <a:xfrm>
          <a:off x="458363" y="25411"/>
          <a:ext cx="6417084" cy="383760"/>
        </a:xfrm>
        <a:prstGeom prst="roundRect">
          <a:avLst/>
        </a:prstGeom>
        <a:solidFill>
          <a:srgbClr val="FFDE75"/>
        </a:solidFill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551" tIns="0" rIns="24255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УБСИДИЯ ПО ПРОЦЕНТНОЙ СТАВКЕ</a:t>
          </a:r>
          <a:endParaRPr lang="ru-RU" sz="18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7097" y="44145"/>
        <a:ext cx="6379616" cy="346292"/>
      </dsp:txXfrm>
    </dsp:sp>
    <dsp:sp modelId="{C6A822CF-7415-41F8-9291-ACD8C9133747}">
      <dsp:nvSpPr>
        <dsp:cNvPr id="0" name=""/>
        <dsp:cNvSpPr/>
      </dsp:nvSpPr>
      <dsp:spPr>
        <a:xfrm>
          <a:off x="0" y="4001072"/>
          <a:ext cx="9167264" cy="3030300"/>
        </a:xfrm>
        <a:prstGeom prst="rect">
          <a:avLst/>
        </a:prstGeom>
        <a:solidFill>
          <a:srgbClr val="F1F5E7">
            <a:alpha val="89804"/>
          </a:srgb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11482" tIns="270764" rIns="711482" bIns="92456" numCol="1" spcCol="1270" anchor="t" anchorCtr="0">
          <a:noAutofit/>
        </a:bodyPr>
        <a:lstStyle/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отношении Заемщика </a:t>
          </a:r>
          <a:r>
            <a:rPr lang="ru-RU" sz="13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по состоянию на дату окончания периода наблюдения (31.03.2020)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не введена процедура банкротства, деятельность Клиента не приостановлена в порядке, предусмотренном законодательством Российской Федерации, а Клиент - ИП не должен прекратить деятельность в качестве индивидуального предпринимателя.</a:t>
          </a:r>
          <a:endParaRPr lang="ru-RU" sz="13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редняя заработная плата, выплачиваемая одному работнику Заемщика </a:t>
          </a:r>
          <a:r>
            <a:rPr lang="ru-RU" sz="13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течение периода наблюдения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по кредитной сделке, определяемая с использованием информационного сервиса ФНС России, составила не менее минимального размера оплаты труда (МРОТ)</a:t>
          </a:r>
          <a:endParaRPr lang="ru-RU" sz="13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14300" lvl="1" indent="-114300" algn="just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Банком списана задолженность по кредитной сделке не позднее 01.04.2020:</a:t>
          </a:r>
          <a:endParaRPr lang="ru-RU" sz="13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360000" lvl="1" indent="-114300" algn="just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размере </a:t>
          </a:r>
          <a:r>
            <a:rPr lang="ru-RU" sz="1500" b="1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50%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- если Численность работников Заемщика </a:t>
          </a:r>
          <a:r>
            <a:rPr lang="ru-RU" sz="13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течение периода наблюдения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по кредитной сделке на конец каждого календарного месяца составила </a:t>
          </a:r>
          <a:r>
            <a:rPr lang="ru-RU" sz="1500" b="1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80%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и более численности работников Заемщика по состоянию на 01.06.2020;</a:t>
          </a:r>
          <a:endParaRPr lang="ru-RU" sz="13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360000" lvl="1" indent="-114300" algn="just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размере </a:t>
          </a:r>
          <a:r>
            <a:rPr lang="ru-RU" sz="1500" b="1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100%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- если численность работников Заемщика </a:t>
          </a:r>
          <a:r>
            <a:rPr lang="ru-RU" sz="1300" b="1" u="sng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в течение периода наблюдения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по кредитной сделке на конец каждого календарного месяца составила </a:t>
          </a:r>
          <a:r>
            <a:rPr lang="ru-RU" sz="1500" b="1" kern="1200" dirty="0" smtClean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rPr>
            <a:t>90%</a:t>
          </a:r>
          <a:r>
            <a:rPr lang="ru-RU" sz="13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 и более численности работников Заемщика по состоянию на 01.06.2020</a:t>
          </a:r>
          <a:endParaRPr lang="ru-RU" sz="1300" b="0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4001072"/>
        <a:ext cx="9167264" cy="3030300"/>
      </dsp:txXfrm>
    </dsp:sp>
    <dsp:sp modelId="{B2D593D6-BD6F-4646-ADD6-DF7F72C9CF54}">
      <dsp:nvSpPr>
        <dsp:cNvPr id="0" name=""/>
        <dsp:cNvSpPr/>
      </dsp:nvSpPr>
      <dsp:spPr>
        <a:xfrm>
          <a:off x="458363" y="3809192"/>
          <a:ext cx="6417084" cy="383760"/>
        </a:xfrm>
        <a:prstGeom prst="roundRect">
          <a:avLst/>
        </a:prstGeom>
        <a:solidFill>
          <a:srgbClr val="FFDE75"/>
        </a:solidFill>
        <a:ln w="25400" cap="flat" cmpd="sng" algn="ctr">
          <a:solidFill>
            <a:srgbClr val="FFC000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42551" tIns="0" rIns="242551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b="1" kern="1200" dirty="0" smtClean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СУБСИДИЯ ПО СПИСАНИЮ</a:t>
          </a:r>
          <a:endParaRPr lang="ru-RU" sz="1800" b="1" kern="1200" dirty="0">
            <a:solidFill>
              <a:schemeClr val="tx1">
                <a:lumMod val="75000"/>
                <a:lumOff val="25000"/>
              </a:schemeClr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77097" y="3827926"/>
        <a:ext cx="6379616" cy="34629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4"/>
            <a:ext cx="2946400" cy="496887"/>
          </a:xfrm>
          <a:prstGeom prst="rect">
            <a:avLst/>
          </a:prstGeom>
        </p:spPr>
        <p:txBody>
          <a:bodyPr vert="horz" lIns="93676" tIns="46837" rIns="93676" bIns="46837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90" y="14"/>
            <a:ext cx="2946400" cy="496887"/>
          </a:xfrm>
          <a:prstGeom prst="rect">
            <a:avLst/>
          </a:prstGeom>
        </p:spPr>
        <p:txBody>
          <a:bodyPr vert="horz" lIns="93676" tIns="46837" rIns="93676" bIns="46837" rtlCol="0"/>
          <a:lstStyle>
            <a:lvl1pPr algn="r">
              <a:defRPr sz="1100"/>
            </a:lvl1pPr>
          </a:lstStyle>
          <a:p>
            <a:fld id="{9CFFD9CC-76D8-4C9A-8DA3-2AB54A554D69}" type="datetimeFigureOut">
              <a:rPr lang="ru-RU" smtClean="0"/>
              <a:t>21.07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676" tIns="46837" rIns="93676" bIns="46837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62" y="4716471"/>
            <a:ext cx="5438775" cy="4467225"/>
          </a:xfrm>
          <a:prstGeom prst="rect">
            <a:avLst/>
          </a:prstGeom>
        </p:spPr>
        <p:txBody>
          <a:bodyPr vert="horz" lIns="93676" tIns="46837" rIns="93676" bIns="4683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62"/>
            <a:ext cx="2946400" cy="496887"/>
          </a:xfrm>
          <a:prstGeom prst="rect">
            <a:avLst/>
          </a:prstGeom>
        </p:spPr>
        <p:txBody>
          <a:bodyPr vert="horz" lIns="93676" tIns="46837" rIns="93676" bIns="46837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90" y="9429762"/>
            <a:ext cx="2946400" cy="496887"/>
          </a:xfrm>
          <a:prstGeom prst="rect">
            <a:avLst/>
          </a:prstGeom>
        </p:spPr>
        <p:txBody>
          <a:bodyPr vert="horz" lIns="93676" tIns="46837" rIns="93676" bIns="46837" rtlCol="0" anchor="b"/>
          <a:lstStyle>
            <a:lvl1pPr algn="r">
              <a:defRPr sz="1100"/>
            </a:lvl1pPr>
          </a:lstStyle>
          <a:p>
            <a:fld id="{35B6D981-6F97-41A0-832B-17A7132D27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458433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1pPr>
    <a:lvl2pPr marL="64008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2pPr>
    <a:lvl3pPr marL="128016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3pPr>
    <a:lvl4pPr marL="192024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4pPr>
    <a:lvl5pPr marL="256032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5pPr>
    <a:lvl6pPr marL="320040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6pPr>
    <a:lvl7pPr marL="384048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7pPr>
    <a:lvl8pPr marL="448056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8pPr>
    <a:lvl9pPr marL="5120640" algn="l" defTabSz="1280160" rtl="0" eaLnBrk="1" latinLnBrk="0" hangingPunct="1">
      <a:defRPr sz="17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CAB64AF-FF5F-4F1D-B538-ACAB5B218672}" type="datetime1">
              <a:rPr lang="ru-RU" smtClean="0"/>
              <a:t>21.07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301196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8CAB64AF-FF5F-4F1D-B538-ACAB5B218672}" type="datetime1">
              <a:rPr lang="ru-RU" smtClean="0"/>
              <a:t>21.07.202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70353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45.xml"/><Relationship Id="rId7" Type="http://schemas.openxmlformats.org/officeDocument/2006/relationships/image" Target="../media/image7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7.xml"/><Relationship Id="rId7" Type="http://schemas.openxmlformats.org/officeDocument/2006/relationships/image" Target="../media/image8.jpe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49.xml"/><Relationship Id="rId7" Type="http://schemas.openxmlformats.org/officeDocument/2006/relationships/image" Target="../media/image10.jpe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51.xml"/><Relationship Id="rId7" Type="http://schemas.openxmlformats.org/officeDocument/2006/relationships/image" Target="../media/image12.jpe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13.emf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6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0120" y="2982596"/>
            <a:ext cx="10881360" cy="205803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20240" y="5440680"/>
            <a:ext cx="8961120" cy="245364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400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8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92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56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840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4805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5120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22100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67842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281160" y="384494"/>
            <a:ext cx="2880360" cy="819213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40080" y="384494"/>
            <a:ext cx="8427720" cy="819213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33578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1"/>
            <a:ext cx="12927055" cy="969951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1694" y="748155"/>
            <a:ext cx="5835808" cy="887520"/>
          </a:xfrm>
        </p:spPr>
        <p:txBody>
          <a:bodyPr anchor="ctr">
            <a:normAutofit/>
          </a:bodyPr>
          <a:lstStyle>
            <a:lvl1pPr>
              <a:defRPr sz="2240"/>
            </a:lvl1pPr>
          </a:lstStyle>
          <a:p>
            <a:r>
              <a:rPr lang="ru-RU" dirty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1695" y="2186940"/>
            <a:ext cx="11615173" cy="6258560"/>
          </a:xfrm>
        </p:spPr>
        <p:txBody>
          <a:bodyPr/>
          <a:lstStyle/>
          <a:p>
            <a:pPr lvl="0"/>
            <a:r>
              <a:rPr lang="ru-RU"/>
              <a:t>Click to edit Master text styles</a:t>
            </a:r>
          </a:p>
          <a:p>
            <a:pPr lvl="1"/>
            <a:r>
              <a:rPr lang="ru-RU"/>
              <a:t>Second level</a:t>
            </a:r>
          </a:p>
          <a:p>
            <a:pPr lvl="2"/>
            <a:r>
              <a:rPr lang="ru-RU"/>
              <a:t>Third level</a:t>
            </a:r>
          </a:p>
          <a:p>
            <a:pPr lvl="3"/>
            <a:r>
              <a:rPr lang="ru-RU"/>
              <a:t>Fourth level</a:t>
            </a:r>
          </a:p>
          <a:p>
            <a:pPr lvl="4"/>
            <a:r>
              <a:rPr lang="ru-RU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465798" y="9138809"/>
            <a:ext cx="2987040" cy="5111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339119" y="748154"/>
            <a:ext cx="4480262" cy="887519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9249143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3271520"/>
            <a:ext cx="12801600" cy="30403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16379" y="3556000"/>
            <a:ext cx="5304361" cy="2453640"/>
          </a:xfrm>
        </p:spPr>
        <p:txBody>
          <a:bodyPr bIns="187200" anchor="ctr">
            <a:normAutofit/>
          </a:bodyPr>
          <a:lstStyle>
            <a:lvl1pPr algn="l">
              <a:defRPr sz="3360" b="1" cap="none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39119" y="748154"/>
            <a:ext cx="4480262" cy="887519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616379" y="748157"/>
            <a:ext cx="5304361" cy="8875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0185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0" y="227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70" y="2270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36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16379" y="6675481"/>
            <a:ext cx="5304361" cy="3077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96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16379" y="7337046"/>
            <a:ext cx="5304361" cy="307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960" baseline="0" dirty="0">
                <a:solidFill>
                  <a:schemeClr val="accent6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616378" y="9118940"/>
            <a:ext cx="8902060" cy="344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1149683" eaLnBrk="0" hangingPunct="0"/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КОНФИДЕНЦИАЛЬНАЯ ИНФОРМАЦИЯ, СОБСТВЕННОСТЬ ООО</a:t>
            </a:r>
            <a:r>
              <a:rPr lang="en-US" sz="1120" baseline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Мак-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</a:t>
            </a:r>
          </a:p>
          <a:p>
            <a:pPr defTabSz="1149683" eaLnBrk="0" hangingPunct="0"/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71520"/>
            <a:ext cx="12801600" cy="304038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616379" y="3556000"/>
            <a:ext cx="5304361" cy="24536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336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9119" y="748156"/>
            <a:ext cx="4462482" cy="887519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28285252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0" y="227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70" y="2270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36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820850" y="7629665"/>
            <a:ext cx="10709481" cy="34470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224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820850" y="8371782"/>
            <a:ext cx="5304361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80" baseline="0" dirty="0">
                <a:solidFill>
                  <a:schemeClr val="tx1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820850" y="9154501"/>
            <a:ext cx="10709481" cy="3447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1149683" eaLnBrk="0" hangingPunct="0"/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КОНФИДЕНЦИАЛЬНАЯ ИНФОРМАЦИЯ, СОБСТВЕННОСТЬ ООО</a:t>
            </a:r>
            <a:r>
              <a:rPr lang="en-US" sz="1120" baseline="0" dirty="0">
                <a:solidFill>
                  <a:schemeClr val="accent6"/>
                </a:solidFill>
                <a:latin typeface="+mn-lt"/>
              </a:rPr>
              <a:t> 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Мак-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</a:t>
            </a:r>
          </a:p>
          <a:p>
            <a:pPr defTabSz="1149683" eaLnBrk="0" hangingPunct="0"/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accent6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accent6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820850" y="6272147"/>
            <a:ext cx="10709481" cy="1180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336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801601" cy="6049523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39119" y="748154"/>
            <a:ext cx="4480262" cy="887519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29739" y="748157"/>
            <a:ext cx="5304361" cy="887520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8C298A-56FF-415A-AB0C-59875D1C06E0}"/>
              </a:ext>
            </a:extLst>
          </p:cNvPr>
          <p:cNvSpPr/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41625559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0" y="227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70" y="2270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36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0"/>
            <a:ext cx="13057632" cy="9797491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8339119" y="748154"/>
            <a:ext cx="4480262" cy="887519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16379" y="748157"/>
            <a:ext cx="5304361" cy="887520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FB7C5A9-21D2-49FB-B896-2C530FC10C09}"/>
              </a:ext>
            </a:extLst>
          </p:cNvPr>
          <p:cNvSpPr/>
          <p:nvPr userDrawn="1"/>
        </p:nvSpPr>
        <p:spPr>
          <a:xfrm>
            <a:off x="0" y="2448170"/>
            <a:ext cx="176400" cy="736299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BA00D15-BEA2-4216-BFA7-D94284E5DDAC}"/>
              </a:ext>
            </a:extLst>
          </p:cNvPr>
          <p:cNvSpPr/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616380" y="4888847"/>
            <a:ext cx="10709481" cy="34470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224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CA2E80B-A8A1-4C15-B779-ECC79C1BE3F4}"/>
              </a:ext>
            </a:extLst>
          </p:cNvPr>
          <p:cNvCxnSpPr/>
          <p:nvPr userDrawn="1"/>
        </p:nvCxnSpPr>
        <p:spPr>
          <a:xfrm>
            <a:off x="758612" y="4667281"/>
            <a:ext cx="12162412" cy="2223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616379" y="6291522"/>
            <a:ext cx="2122504" cy="2585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680" baseline="0" dirty="0">
                <a:solidFill>
                  <a:schemeClr val="bg1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616380" y="9317058"/>
            <a:ext cx="10709481" cy="3447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defTabSz="1149683" eaLnBrk="0" hangingPunct="0"/>
            <a:r>
              <a:rPr lang="ru-RU" sz="1120" baseline="0" dirty="0">
                <a:solidFill>
                  <a:schemeClr val="bg1"/>
                </a:solidFill>
                <a:latin typeface="+mn-lt"/>
              </a:rPr>
              <a:t>КОНФИДЕНЦИАЛЬНАЯ ИНФОРМАЦИЯ, СОБСТВЕННОСТЬ ООО</a:t>
            </a:r>
            <a:r>
              <a:rPr lang="en-US" sz="1120" baseline="0" dirty="0">
                <a:solidFill>
                  <a:schemeClr val="bg1"/>
                </a:solidFill>
                <a:latin typeface="+mn-lt"/>
              </a:rPr>
              <a:t> 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"Мак-</a:t>
            </a:r>
            <a:r>
              <a:rPr lang="ru-RU" sz="1120" baseline="0" dirty="0" err="1">
                <a:solidFill>
                  <a:schemeClr val="bg1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"</a:t>
            </a:r>
          </a:p>
          <a:p>
            <a:pPr defTabSz="1149683" eaLnBrk="0" hangingPunct="0"/>
            <a:r>
              <a:rPr lang="ru-RU" sz="1120" baseline="0" dirty="0">
                <a:solidFill>
                  <a:schemeClr val="bg1"/>
                </a:solidFill>
                <a:latin typeface="+mn-lt"/>
              </a:rPr>
              <a:t>Любое использование этого документа без специального разрешения ООО "Мак-</a:t>
            </a:r>
            <a:r>
              <a:rPr lang="ru-RU" sz="1120" baseline="0" dirty="0" err="1">
                <a:solidFill>
                  <a:schemeClr val="bg1"/>
                </a:solidFill>
                <a:latin typeface="+mn-lt"/>
              </a:rPr>
              <a:t>Кинзи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 и Компания </a:t>
            </a:r>
            <a:r>
              <a:rPr lang="ru-RU" sz="1120" baseline="0" dirty="0" err="1">
                <a:solidFill>
                  <a:schemeClr val="bg1"/>
                </a:solidFill>
                <a:latin typeface="+mn-lt"/>
              </a:rPr>
              <a:t>СиАйЭс</a:t>
            </a:r>
            <a:r>
              <a:rPr lang="ru-RU" sz="1120" baseline="0" dirty="0">
                <a:solidFill>
                  <a:schemeClr val="bg1"/>
                </a:solidFill>
                <a:latin typeface="+mn-lt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616380" y="3265341"/>
            <a:ext cx="10709481" cy="1180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336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44360417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9" y="2268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4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F98B590-544D-4A91-8E98-4BFFCED9F4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69" y="2268"/>
                        <a:ext cx="2268" cy="22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24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0"/>
          <a:stretch/>
        </p:blipFill>
        <p:spPr>
          <a:xfrm>
            <a:off x="4538" y="9022826"/>
            <a:ext cx="12797063" cy="57837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90274" y="748156"/>
            <a:ext cx="7790735" cy="887519"/>
          </a:xfrm>
        </p:spPr>
        <p:txBody>
          <a:bodyPr anchor="ctr">
            <a:noAutofit/>
          </a:bodyPr>
          <a:lstStyle>
            <a:lvl1pPr>
              <a:defRPr sz="224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11545252" y="72566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36"/>
            <a:endParaRPr lang="ru-RU" sz="114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2234656" y="9233562"/>
            <a:ext cx="177934" cy="1757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2" baseline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ru-RU" sz="1142" baseline="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9119" y="748156"/>
            <a:ext cx="4462482" cy="887519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2797153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70" y="2270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0" name="think-cell Slide" r:id="rId5" imgW="386" imgH="386" progId="TCLayout.ActiveDocument.1">
                  <p:embed/>
                </p:oleObj>
              </mc:Choice>
              <mc:Fallback>
                <p:oleObj name="think-cell Slide" r:id="rId5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70" y="2270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2250" cy="2222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40" b="1" i="0" baseline="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0274" y="748156"/>
            <a:ext cx="7790735" cy="88751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12234656" y="9296705"/>
            <a:ext cx="177934" cy="1757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2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1142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1545252" y="72566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36"/>
            <a:endParaRPr lang="ru-RU" sz="114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26413E40-B8DF-41BC-BF35-998C4065DDF2}"/>
              </a:ext>
            </a:extLst>
          </p:cNvPr>
          <p:cNvSpPr/>
          <p:nvPr userDrawn="1"/>
        </p:nvSpPr>
        <p:spPr>
          <a:xfrm>
            <a:off x="0" y="748156"/>
            <a:ext cx="176400" cy="827466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500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2234656" y="9233562"/>
            <a:ext cx="177934" cy="17575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2" baseline="0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ru-RU" sz="1142" baseline="0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552918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9" y="2269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69" y="2269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6E008F18-E19A-4BCC-B3CC-C997B822A23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428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DD94DCDE-69FE-4CE6-BE0B-CA0EBB7C139A}"/>
              </a:ext>
            </a:extLst>
          </p:cNvPr>
          <p:cNvSpPr>
            <a:spLocks/>
          </p:cNvSpPr>
          <p:nvPr userDrawn="1"/>
        </p:nvSpPr>
        <p:spPr>
          <a:xfrm>
            <a:off x="0" y="3337970"/>
            <a:ext cx="6444926" cy="3040201"/>
          </a:xfrm>
          <a:prstGeom prst="rect">
            <a:avLst/>
          </a:prstGeom>
          <a:solidFill>
            <a:srgbClr val="245F3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6D119688-0F16-4613-9C0C-2CEEBA8A7F94}"/>
              </a:ext>
            </a:extLst>
          </p:cNvPr>
          <p:cNvSpPr>
            <a:spLocks/>
          </p:cNvSpPr>
          <p:nvPr userDrawn="1"/>
        </p:nvSpPr>
        <p:spPr>
          <a:xfrm>
            <a:off x="6444926" y="3337970"/>
            <a:ext cx="1015964" cy="304020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83AB1B1-AAD2-48E2-A5F1-30C4806FA521}"/>
              </a:ext>
            </a:extLst>
          </p:cNvPr>
          <p:cNvSpPr>
            <a:spLocks/>
          </p:cNvSpPr>
          <p:nvPr userDrawn="1"/>
        </p:nvSpPr>
        <p:spPr>
          <a:xfrm>
            <a:off x="7678599" y="3337970"/>
            <a:ext cx="637746" cy="304020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1DA4098-32D7-4892-A86B-554548A15ACE}"/>
              </a:ext>
            </a:extLst>
          </p:cNvPr>
          <p:cNvSpPr>
            <a:spLocks/>
          </p:cNvSpPr>
          <p:nvPr userDrawn="1"/>
        </p:nvSpPr>
        <p:spPr>
          <a:xfrm>
            <a:off x="8745458" y="3337970"/>
            <a:ext cx="1269952" cy="304020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739C427F-977A-480A-97C4-D7BF701E5611}"/>
              </a:ext>
            </a:extLst>
          </p:cNvPr>
          <p:cNvSpPr>
            <a:spLocks/>
          </p:cNvSpPr>
          <p:nvPr userDrawn="1"/>
        </p:nvSpPr>
        <p:spPr>
          <a:xfrm>
            <a:off x="10015410" y="3337970"/>
            <a:ext cx="437493" cy="3040201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11381BC1-3149-404D-BA59-F9980FCE76DF}"/>
              </a:ext>
            </a:extLst>
          </p:cNvPr>
          <p:cNvSpPr>
            <a:spLocks/>
          </p:cNvSpPr>
          <p:nvPr userDrawn="1"/>
        </p:nvSpPr>
        <p:spPr>
          <a:xfrm>
            <a:off x="10676530" y="3337970"/>
            <a:ext cx="850484" cy="3040201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D0C7740-4AC9-4497-A649-DCCAAEC24CC3}"/>
              </a:ext>
            </a:extLst>
          </p:cNvPr>
          <p:cNvSpPr>
            <a:spLocks/>
          </p:cNvSpPr>
          <p:nvPr userDrawn="1"/>
        </p:nvSpPr>
        <p:spPr>
          <a:xfrm>
            <a:off x="11965339" y="3337970"/>
            <a:ext cx="217707" cy="3040201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5D7A7786-AFFE-48DF-A8EF-85C4F916D452}"/>
              </a:ext>
            </a:extLst>
          </p:cNvPr>
          <p:cNvSpPr>
            <a:spLocks/>
          </p:cNvSpPr>
          <p:nvPr userDrawn="1"/>
        </p:nvSpPr>
        <p:spPr>
          <a:xfrm>
            <a:off x="12175694" y="3337970"/>
            <a:ext cx="625906" cy="3040201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29888" y="4330505"/>
            <a:ext cx="5631229" cy="1055135"/>
          </a:xfrm>
          <a:prstGeom prst="rect">
            <a:avLst/>
          </a:prstGeom>
        </p:spPr>
        <p:txBody>
          <a:bodyPr anchor="ctr">
            <a:spAutoFit/>
          </a:bodyPr>
          <a:lstStyle>
            <a:lvl1pPr>
              <a:defRPr sz="3428" b="1" baseline="0">
                <a:solidFill>
                  <a:schemeClr val="bg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Subtitle" hidden="1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29888" y="6639868"/>
            <a:ext cx="5631229" cy="307748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20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29888" y="7219954"/>
            <a:ext cx="5631229" cy="307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2000" baseline="0" dirty="0">
                <a:solidFill>
                  <a:schemeClr val="accent6"/>
                </a:solidFill>
                <a:latin typeface="+mn-lt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29888" y="9069225"/>
            <a:ext cx="11828152" cy="351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1149666" eaLnBrk="0" hangingPunct="0"/>
            <a:r>
              <a:rPr lang="ru-RU" sz="1143" baseline="0" dirty="0">
                <a:solidFill>
                  <a:schemeClr val="accent6"/>
                </a:solidFill>
                <a:latin typeface="+mn-lt"/>
              </a:rPr>
              <a:t>КОНФИДЕНЦИАЛЬНАЯ ИНФОРМАЦИЯ, СОБСТВЕННОСТЬ ООО"Мак-Кинзи и Компания СиАйЭс"</a:t>
            </a:r>
          </a:p>
          <a:p>
            <a:pPr defTabSz="1149666" eaLnBrk="0" hangingPunct="0"/>
            <a:r>
              <a:rPr lang="ru-RU" sz="1143" baseline="0" dirty="0">
                <a:solidFill>
                  <a:schemeClr val="accent6"/>
                </a:solidFill>
                <a:latin typeface="+mn-lt"/>
              </a:rPr>
              <a:t>Любое использование этого документа без специального разрешения ООО "Мак-Кинзи и Компания СиАйЭс" строго запрещено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5AF54115-2C0A-440F-8D7F-6BC61D04F7B5}"/>
              </a:ext>
            </a:extLst>
          </p:cNvPr>
          <p:cNvSpPr>
            <a:spLocks/>
          </p:cNvSpPr>
          <p:nvPr userDrawn="1"/>
        </p:nvSpPr>
        <p:spPr>
          <a:xfrm>
            <a:off x="0" y="765591"/>
            <a:ext cx="176399" cy="887466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71" dirty="0"/>
          </a:p>
        </p:txBody>
      </p:sp>
      <p:grpSp>
        <p:nvGrpSpPr>
          <p:cNvPr id="13365" name="Group 13364">
            <a:extLst>
              <a:ext uri="{FF2B5EF4-FFF2-40B4-BE49-F238E27FC236}">
                <a16:creationId xmlns:a16="http://schemas.microsoft.com/office/drawing/2014/main" id="{BAC9BFC8-9C72-4059-A28A-B61CEB28B6B4}"/>
              </a:ext>
            </a:extLst>
          </p:cNvPr>
          <p:cNvGrpSpPr/>
          <p:nvPr userDrawn="1"/>
        </p:nvGrpSpPr>
        <p:grpSpPr>
          <a:xfrm>
            <a:off x="8330454" y="754688"/>
            <a:ext cx="4362441" cy="902260"/>
            <a:chOff x="5831524" y="528331"/>
            <a:chExt cx="3053817" cy="631642"/>
          </a:xfrm>
        </p:grpSpPr>
        <p:sp>
          <p:nvSpPr>
            <p:cNvPr id="13322" name="Freeform: Shape 13321">
              <a:extLst>
                <a:ext uri="{FF2B5EF4-FFF2-40B4-BE49-F238E27FC236}">
                  <a16:creationId xmlns:a16="http://schemas.microsoft.com/office/drawing/2014/main" id="{64A93DBD-CA15-4162-AB09-48C66C00900F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3" name="Freeform: Shape 13322">
              <a:extLst>
                <a:ext uri="{FF2B5EF4-FFF2-40B4-BE49-F238E27FC236}">
                  <a16:creationId xmlns:a16="http://schemas.microsoft.com/office/drawing/2014/main" id="{7C0D8CD2-7CDB-4008-B178-CF1504176B5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4" name="Freeform: Shape 13323">
              <a:extLst>
                <a:ext uri="{FF2B5EF4-FFF2-40B4-BE49-F238E27FC236}">
                  <a16:creationId xmlns:a16="http://schemas.microsoft.com/office/drawing/2014/main" id="{0BD7BD93-0357-4F97-B0D6-CFA7D20B799D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5" name="Freeform: Shape 13324">
              <a:extLst>
                <a:ext uri="{FF2B5EF4-FFF2-40B4-BE49-F238E27FC236}">
                  <a16:creationId xmlns:a16="http://schemas.microsoft.com/office/drawing/2014/main" id="{D8F16D11-8EB5-4205-8558-F759C7E2F54D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6" name="Freeform: Shape 13325">
              <a:extLst>
                <a:ext uri="{FF2B5EF4-FFF2-40B4-BE49-F238E27FC236}">
                  <a16:creationId xmlns:a16="http://schemas.microsoft.com/office/drawing/2014/main" id="{0D084091-DD2D-4719-B9C9-774CB6C50605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7" name="Freeform: Shape 13326">
              <a:extLst>
                <a:ext uri="{FF2B5EF4-FFF2-40B4-BE49-F238E27FC236}">
                  <a16:creationId xmlns:a16="http://schemas.microsoft.com/office/drawing/2014/main" id="{06892E77-C11A-4807-8BE2-93039FD2690A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8" name="Freeform: Shape 13327">
              <a:extLst>
                <a:ext uri="{FF2B5EF4-FFF2-40B4-BE49-F238E27FC236}">
                  <a16:creationId xmlns:a16="http://schemas.microsoft.com/office/drawing/2014/main" id="{C29B2EBF-72A6-40BC-B560-99D5DCDB1394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29" name="Freeform: Shape 13328">
              <a:extLst>
                <a:ext uri="{FF2B5EF4-FFF2-40B4-BE49-F238E27FC236}">
                  <a16:creationId xmlns:a16="http://schemas.microsoft.com/office/drawing/2014/main" id="{CB2988A0-391C-4944-AD7E-EA9B21FB5FD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0" name="Freeform: Shape 13329">
              <a:extLst>
                <a:ext uri="{FF2B5EF4-FFF2-40B4-BE49-F238E27FC236}">
                  <a16:creationId xmlns:a16="http://schemas.microsoft.com/office/drawing/2014/main" id="{2EF9EFAC-60AC-4ECE-A34B-646F7D30EFE2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1" name="Freeform: Shape 13330">
              <a:extLst>
                <a:ext uri="{FF2B5EF4-FFF2-40B4-BE49-F238E27FC236}">
                  <a16:creationId xmlns:a16="http://schemas.microsoft.com/office/drawing/2014/main" id="{3225AFAA-A27C-4380-ACD5-D4AF4D6E037A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2" name="Freeform: Shape 13331">
              <a:extLst>
                <a:ext uri="{FF2B5EF4-FFF2-40B4-BE49-F238E27FC236}">
                  <a16:creationId xmlns:a16="http://schemas.microsoft.com/office/drawing/2014/main" id="{518C58CF-C67C-4A32-B165-BB98A4698652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3" name="Freeform: Shape 13332">
              <a:extLst>
                <a:ext uri="{FF2B5EF4-FFF2-40B4-BE49-F238E27FC236}">
                  <a16:creationId xmlns:a16="http://schemas.microsoft.com/office/drawing/2014/main" id="{BF7F0400-2855-44DE-964D-6D878299950D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4" name="Freeform: Shape 13333">
              <a:extLst>
                <a:ext uri="{FF2B5EF4-FFF2-40B4-BE49-F238E27FC236}">
                  <a16:creationId xmlns:a16="http://schemas.microsoft.com/office/drawing/2014/main" id="{8AC67285-20B1-4E71-838B-141B59B3679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5" name="Freeform: Shape 13334">
              <a:extLst>
                <a:ext uri="{FF2B5EF4-FFF2-40B4-BE49-F238E27FC236}">
                  <a16:creationId xmlns:a16="http://schemas.microsoft.com/office/drawing/2014/main" id="{8CFDB609-AD40-44AE-9E5F-782575986740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6" name="Freeform: Shape 13335">
              <a:extLst>
                <a:ext uri="{FF2B5EF4-FFF2-40B4-BE49-F238E27FC236}">
                  <a16:creationId xmlns:a16="http://schemas.microsoft.com/office/drawing/2014/main" id="{6F3DCD6F-74A7-4C6F-BDFF-68B78A0C07B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7" name="Freeform: Shape 13336">
              <a:extLst>
                <a:ext uri="{FF2B5EF4-FFF2-40B4-BE49-F238E27FC236}">
                  <a16:creationId xmlns:a16="http://schemas.microsoft.com/office/drawing/2014/main" id="{AC7DA3F9-7182-49BB-AEB1-DD008A9F3A3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8" name="Freeform: Shape 13337">
              <a:extLst>
                <a:ext uri="{FF2B5EF4-FFF2-40B4-BE49-F238E27FC236}">
                  <a16:creationId xmlns:a16="http://schemas.microsoft.com/office/drawing/2014/main" id="{182C288E-6BE1-4A97-B1F3-8221FD597013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39" name="Freeform: Shape 13338">
              <a:extLst>
                <a:ext uri="{FF2B5EF4-FFF2-40B4-BE49-F238E27FC236}">
                  <a16:creationId xmlns:a16="http://schemas.microsoft.com/office/drawing/2014/main" id="{543B3D7A-8428-43A8-8255-BB22DBBDD8CB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0" name="Freeform: Shape 13339">
              <a:extLst>
                <a:ext uri="{FF2B5EF4-FFF2-40B4-BE49-F238E27FC236}">
                  <a16:creationId xmlns:a16="http://schemas.microsoft.com/office/drawing/2014/main" id="{2239A1D2-6154-4C36-8AE2-E488360DE71A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1" name="Freeform: Shape 13340">
              <a:extLst>
                <a:ext uri="{FF2B5EF4-FFF2-40B4-BE49-F238E27FC236}">
                  <a16:creationId xmlns:a16="http://schemas.microsoft.com/office/drawing/2014/main" id="{04790FF1-9976-42D7-82A4-BDE4659CAC80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2" name="Freeform: Shape 13341">
              <a:extLst>
                <a:ext uri="{FF2B5EF4-FFF2-40B4-BE49-F238E27FC236}">
                  <a16:creationId xmlns:a16="http://schemas.microsoft.com/office/drawing/2014/main" id="{5F859A70-C385-44D5-AEAC-46A43B2791D7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3" name="Freeform: Shape 13342">
              <a:extLst>
                <a:ext uri="{FF2B5EF4-FFF2-40B4-BE49-F238E27FC236}">
                  <a16:creationId xmlns:a16="http://schemas.microsoft.com/office/drawing/2014/main" id="{0F59C80E-7391-4003-8E99-A65F49288C24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4" name="Freeform: Shape 13343">
              <a:extLst>
                <a:ext uri="{FF2B5EF4-FFF2-40B4-BE49-F238E27FC236}">
                  <a16:creationId xmlns:a16="http://schemas.microsoft.com/office/drawing/2014/main" id="{8DE33797-8AB2-449A-B870-FFCD5FD9F964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5" name="Freeform: Shape 13344">
              <a:extLst>
                <a:ext uri="{FF2B5EF4-FFF2-40B4-BE49-F238E27FC236}">
                  <a16:creationId xmlns:a16="http://schemas.microsoft.com/office/drawing/2014/main" id="{A0D69B8C-6DFC-4657-A069-5090D114BF2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6" name="Freeform: Shape 13345">
              <a:extLst>
                <a:ext uri="{FF2B5EF4-FFF2-40B4-BE49-F238E27FC236}">
                  <a16:creationId xmlns:a16="http://schemas.microsoft.com/office/drawing/2014/main" id="{E2128CEE-45D5-4FB3-BB1D-6899EAD5A01F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7" name="Freeform: Shape 13346">
              <a:extLst>
                <a:ext uri="{FF2B5EF4-FFF2-40B4-BE49-F238E27FC236}">
                  <a16:creationId xmlns:a16="http://schemas.microsoft.com/office/drawing/2014/main" id="{3514447C-70A6-4196-995D-8764DBEF4A0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8" name="Freeform: Shape 13347">
              <a:extLst>
                <a:ext uri="{FF2B5EF4-FFF2-40B4-BE49-F238E27FC236}">
                  <a16:creationId xmlns:a16="http://schemas.microsoft.com/office/drawing/2014/main" id="{F4CA19D5-B33C-44B8-AB5A-7792041DC2D4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49" name="Freeform: Shape 13348">
              <a:extLst>
                <a:ext uri="{FF2B5EF4-FFF2-40B4-BE49-F238E27FC236}">
                  <a16:creationId xmlns:a16="http://schemas.microsoft.com/office/drawing/2014/main" id="{CF2E976F-1FE9-440B-AC25-222DFEB7D633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0" name="Freeform: Shape 13349">
              <a:extLst>
                <a:ext uri="{FF2B5EF4-FFF2-40B4-BE49-F238E27FC236}">
                  <a16:creationId xmlns:a16="http://schemas.microsoft.com/office/drawing/2014/main" id="{2CFCE834-1680-4E7B-87C6-A7FF00CBD3EB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1" name="Freeform: Shape 13350">
              <a:extLst>
                <a:ext uri="{FF2B5EF4-FFF2-40B4-BE49-F238E27FC236}">
                  <a16:creationId xmlns:a16="http://schemas.microsoft.com/office/drawing/2014/main" id="{650E3441-B9E7-4292-BEBF-BF4B19C7B118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2" name="Freeform: Shape 13351">
              <a:extLst>
                <a:ext uri="{FF2B5EF4-FFF2-40B4-BE49-F238E27FC236}">
                  <a16:creationId xmlns:a16="http://schemas.microsoft.com/office/drawing/2014/main" id="{F0C416F4-7312-4ACB-86F5-B20467FBFA32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3" name="Freeform: Shape 13352">
              <a:extLst>
                <a:ext uri="{FF2B5EF4-FFF2-40B4-BE49-F238E27FC236}">
                  <a16:creationId xmlns:a16="http://schemas.microsoft.com/office/drawing/2014/main" id="{DA620109-BEFD-4FDF-9308-B1FED6609E44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4" name="Freeform: Shape 13353">
              <a:extLst>
                <a:ext uri="{FF2B5EF4-FFF2-40B4-BE49-F238E27FC236}">
                  <a16:creationId xmlns:a16="http://schemas.microsoft.com/office/drawing/2014/main" id="{8045BAEA-A7A1-49A4-9B05-8DECB88D634A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5" name="Freeform: Shape 13354">
              <a:extLst>
                <a:ext uri="{FF2B5EF4-FFF2-40B4-BE49-F238E27FC236}">
                  <a16:creationId xmlns:a16="http://schemas.microsoft.com/office/drawing/2014/main" id="{53FFE9E2-B237-46A3-8627-C615CE7B0644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6" name="Freeform: Shape 13355">
              <a:extLst>
                <a:ext uri="{FF2B5EF4-FFF2-40B4-BE49-F238E27FC236}">
                  <a16:creationId xmlns:a16="http://schemas.microsoft.com/office/drawing/2014/main" id="{E8723AC5-CF85-4331-A6E2-3167E131CA4C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7" name="Freeform: Shape 13356">
              <a:extLst>
                <a:ext uri="{FF2B5EF4-FFF2-40B4-BE49-F238E27FC236}">
                  <a16:creationId xmlns:a16="http://schemas.microsoft.com/office/drawing/2014/main" id="{64D3E82E-F198-4794-A857-02319AC77207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8" name="Freeform: Shape 13357">
              <a:extLst>
                <a:ext uri="{FF2B5EF4-FFF2-40B4-BE49-F238E27FC236}">
                  <a16:creationId xmlns:a16="http://schemas.microsoft.com/office/drawing/2014/main" id="{8B54ADEE-BFBA-4702-BAFE-E38760B7948F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59" name="Freeform: Shape 13358">
              <a:extLst>
                <a:ext uri="{FF2B5EF4-FFF2-40B4-BE49-F238E27FC236}">
                  <a16:creationId xmlns:a16="http://schemas.microsoft.com/office/drawing/2014/main" id="{B22411C5-5B0B-4DE5-BB72-ADF57E9568EB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0" name="Freeform: Shape 13359">
              <a:extLst>
                <a:ext uri="{FF2B5EF4-FFF2-40B4-BE49-F238E27FC236}">
                  <a16:creationId xmlns:a16="http://schemas.microsoft.com/office/drawing/2014/main" id="{8E68478C-4DEE-4A7A-9DF8-616A2A423C2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1" name="Freeform: Shape 13360">
              <a:extLst>
                <a:ext uri="{FF2B5EF4-FFF2-40B4-BE49-F238E27FC236}">
                  <a16:creationId xmlns:a16="http://schemas.microsoft.com/office/drawing/2014/main" id="{BDED51A8-542E-44A7-B11D-6C80E57C26F3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2" name="Freeform: Shape 13361">
              <a:extLst>
                <a:ext uri="{FF2B5EF4-FFF2-40B4-BE49-F238E27FC236}">
                  <a16:creationId xmlns:a16="http://schemas.microsoft.com/office/drawing/2014/main" id="{AC2C1A0D-C23F-4C0E-ACA7-0934397CFCA7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3" name="Freeform: Shape 13362">
              <a:extLst>
                <a:ext uri="{FF2B5EF4-FFF2-40B4-BE49-F238E27FC236}">
                  <a16:creationId xmlns:a16="http://schemas.microsoft.com/office/drawing/2014/main" id="{49F44850-9CBA-4736-BE25-80465B13EC65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3364" name="Freeform: Shape 13363">
              <a:extLst>
                <a:ext uri="{FF2B5EF4-FFF2-40B4-BE49-F238E27FC236}">
                  <a16:creationId xmlns:a16="http://schemas.microsoft.com/office/drawing/2014/main" id="{DE58C51A-A122-4DF6-9321-CE8B7F13BA23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</p:grpSp>
    </p:spTree>
    <p:extLst>
      <p:ext uri="{BB962C8B-B14F-4D97-AF65-F5344CB8AC3E}">
        <p14:creationId xmlns:p14="http://schemas.microsoft.com/office/powerpoint/2010/main" val="39205108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17">
          <p15:clr>
            <a:srgbClr val="FBAE40"/>
          </p15:clr>
        </p15:guide>
        <p15:guide id="2" pos="2822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2409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ED8B3A-E347-4607-8E72-BBA77B692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9" y="2269"/>
          <a:ext cx="2268" cy="22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ED8B3A-E347-4607-8E72-BBA77B692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269" y="2269"/>
                        <a:ext cx="2268" cy="226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49EAC6D-2BE7-4619-99A9-DD2EB236D21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71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319757" y="780711"/>
            <a:ext cx="7846507" cy="439640"/>
          </a:xfrm>
        </p:spPr>
        <p:txBody>
          <a:bodyPr/>
          <a:lstStyle>
            <a:lvl1pPr>
              <a:defRPr sz="2857"/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12234926" y="9224092"/>
            <a:ext cx="177934" cy="17588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3" baseline="0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ru-RU" sz="1143" baseline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1545252" y="72567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18"/>
            <a:endParaRPr lang="ru-RU" sz="1143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42388102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269" y="2269"/>
          <a:ext cx="2267" cy="22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8" name="think-cell Slide" r:id="rId6" imgW="386" imgH="386" progId="TCLayout.ActiveDocument.1">
                  <p:embed/>
                </p:oleObj>
              </mc:Choice>
              <mc:Fallback>
                <p:oleObj name="think-cell Slide" r:id="rId6" imgW="386" imgH="3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4C10C8-1C86-4631-A642-F3E3792DB2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269" y="2269"/>
                        <a:ext cx="2267" cy="226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E48A48E-9064-46FC-AA59-85849A9CD32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26778" cy="22676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571" b="1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 hidden="1"/>
          <p:cNvSpPr txBox="1">
            <a:spLocks/>
          </p:cNvSpPr>
          <p:nvPr userDrawn="1"/>
        </p:nvSpPr>
        <p:spPr>
          <a:xfrm>
            <a:off x="12234656" y="9296641"/>
            <a:ext cx="177934" cy="17588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1143" baseline="0" smtClean="0">
                <a:solidFill>
                  <a:srgbClr val="FFFFFF"/>
                </a:solidFill>
                <a:latin typeface="+mn-lt"/>
              </a:rPr>
              <a:pPr/>
              <a:t>‹#›</a:t>
            </a:fld>
            <a:endParaRPr lang="ru-RU" sz="1143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16" name="SlideLogoText" hidden="1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auto">
          <a:xfrm>
            <a:off x="10648176" y="9296641"/>
            <a:ext cx="1442703" cy="17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1278918"/>
            <a:r>
              <a:rPr lang="ru-RU" sz="1143" baseline="0" dirty="0">
                <a:solidFill>
                  <a:srgbClr val="FFFFFF"/>
                </a:solidFill>
                <a:latin typeface="+mn-lt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1545252" y="72567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18"/>
            <a:endParaRPr lang="ru-RU" sz="1143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19459C1-220C-4412-96C0-F8DAA7B0F1F5}"/>
              </a:ext>
            </a:extLst>
          </p:cNvPr>
          <p:cNvSpPr/>
          <p:nvPr userDrawn="1"/>
        </p:nvSpPr>
        <p:spPr>
          <a:xfrm>
            <a:off x="0" y="1"/>
            <a:ext cx="12801600" cy="96012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9756" y="763353"/>
            <a:ext cx="12089248" cy="395675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097092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11238" y="6169661"/>
            <a:ext cx="10881360" cy="1906905"/>
          </a:xfrm>
        </p:spPr>
        <p:txBody>
          <a:bodyPr anchor="t"/>
          <a:lstStyle>
            <a:lvl1pPr algn="l">
              <a:defRPr sz="56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011238" y="4069399"/>
            <a:ext cx="10881360" cy="2100262"/>
          </a:xfrm>
        </p:spPr>
        <p:txBody>
          <a:bodyPr anchor="b"/>
          <a:lstStyle>
            <a:lvl1pPr marL="0" indent="0">
              <a:buNone/>
              <a:defRPr sz="2800">
                <a:solidFill>
                  <a:schemeClr val="tx1">
                    <a:tint val="75000"/>
                  </a:schemeClr>
                </a:solidFill>
              </a:defRPr>
            </a:lvl1pPr>
            <a:lvl2pPr marL="640080" indent="0">
              <a:buNone/>
              <a:defRPr sz="2500">
                <a:solidFill>
                  <a:schemeClr val="tx1">
                    <a:tint val="75000"/>
                  </a:schemeClr>
                </a:solidFill>
              </a:defRPr>
            </a:lvl2pPr>
            <a:lvl3pPr marL="128016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3pPr>
            <a:lvl4pPr marL="19202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4pPr>
            <a:lvl5pPr marL="256032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5pPr>
            <a:lvl6pPr marL="32004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6pPr>
            <a:lvl7pPr marL="384048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7pPr>
            <a:lvl8pPr marL="448056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8pPr>
            <a:lvl9pPr marL="512064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23849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40080" y="2240281"/>
            <a:ext cx="5654040" cy="6336348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507480" y="2240281"/>
            <a:ext cx="5654040" cy="6336348"/>
          </a:xfrm>
        </p:spPr>
        <p:txBody>
          <a:bodyPr/>
          <a:lstStyle>
            <a:lvl1pPr>
              <a:defRPr sz="3900"/>
            </a:lvl1pPr>
            <a:lvl2pPr>
              <a:defRPr sz="3400"/>
            </a:lvl2pPr>
            <a:lvl3pPr>
              <a:defRPr sz="28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61624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149158"/>
            <a:ext cx="5656263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40080" y="3044825"/>
            <a:ext cx="5656263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503036" y="2149158"/>
            <a:ext cx="5658485" cy="895667"/>
          </a:xfrm>
        </p:spPr>
        <p:txBody>
          <a:bodyPr anchor="b"/>
          <a:lstStyle>
            <a:lvl1pPr marL="0" indent="0">
              <a:buNone/>
              <a:defRPr sz="3400" b="1"/>
            </a:lvl1pPr>
            <a:lvl2pPr marL="640080" indent="0">
              <a:buNone/>
              <a:defRPr sz="2800" b="1"/>
            </a:lvl2pPr>
            <a:lvl3pPr marL="1280160" indent="0">
              <a:buNone/>
              <a:defRPr sz="2500" b="1"/>
            </a:lvl3pPr>
            <a:lvl4pPr marL="1920240" indent="0">
              <a:buNone/>
              <a:defRPr sz="2200" b="1"/>
            </a:lvl4pPr>
            <a:lvl5pPr marL="2560320" indent="0">
              <a:buNone/>
              <a:defRPr sz="2200" b="1"/>
            </a:lvl5pPr>
            <a:lvl6pPr marL="3200400" indent="0">
              <a:buNone/>
              <a:defRPr sz="2200" b="1"/>
            </a:lvl6pPr>
            <a:lvl7pPr marL="3840480" indent="0">
              <a:buNone/>
              <a:defRPr sz="2200" b="1"/>
            </a:lvl7pPr>
            <a:lvl8pPr marL="4480560" indent="0">
              <a:buNone/>
              <a:defRPr sz="2200" b="1"/>
            </a:lvl8pPr>
            <a:lvl9pPr marL="5120640" indent="0">
              <a:buNone/>
              <a:defRPr sz="2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503036" y="3044825"/>
            <a:ext cx="5658485" cy="5531803"/>
          </a:xfrm>
        </p:spPr>
        <p:txBody>
          <a:bodyPr/>
          <a:lstStyle>
            <a:lvl1pPr>
              <a:defRPr sz="3400"/>
            </a:lvl1pPr>
            <a:lvl2pPr>
              <a:defRPr sz="2800"/>
            </a:lvl2pPr>
            <a:lvl3pPr>
              <a:defRPr sz="25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651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53150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86743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1" y="382270"/>
            <a:ext cx="4211638" cy="1626870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005070" y="382271"/>
            <a:ext cx="7156450" cy="8194358"/>
          </a:xfrm>
        </p:spPr>
        <p:txBody>
          <a:bodyPr/>
          <a:lstStyle>
            <a:lvl1pPr>
              <a:defRPr sz="4500"/>
            </a:lvl1pPr>
            <a:lvl2pPr>
              <a:defRPr sz="3900"/>
            </a:lvl2pPr>
            <a:lvl3pPr>
              <a:defRPr sz="3400"/>
            </a:lvl3pPr>
            <a:lvl4pPr>
              <a:defRPr sz="2800"/>
            </a:lvl4pPr>
            <a:lvl5pPr>
              <a:defRPr sz="2800"/>
            </a:lvl5pPr>
            <a:lvl6pPr>
              <a:defRPr sz="2800"/>
            </a:lvl6pPr>
            <a:lvl7pPr>
              <a:defRPr sz="2800"/>
            </a:lvl7pPr>
            <a:lvl8pPr>
              <a:defRPr sz="2800"/>
            </a:lvl8pPr>
            <a:lvl9pPr>
              <a:defRPr sz="2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40081" y="2009141"/>
            <a:ext cx="4211638" cy="6567488"/>
          </a:xfrm>
        </p:spPr>
        <p:txBody>
          <a:bodyPr/>
          <a:lstStyle>
            <a:lvl1pPr marL="0" indent="0">
              <a:buNone/>
              <a:defRPr sz="20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245964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09203" y="6720840"/>
            <a:ext cx="7680960" cy="793433"/>
          </a:xfrm>
        </p:spPr>
        <p:txBody>
          <a:bodyPr anchor="b"/>
          <a:lstStyle>
            <a:lvl1pPr algn="l">
              <a:defRPr sz="2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509203" y="857885"/>
            <a:ext cx="7680960" cy="5760720"/>
          </a:xfrm>
        </p:spPr>
        <p:txBody>
          <a:bodyPr/>
          <a:lstStyle>
            <a:lvl1pPr marL="0" indent="0">
              <a:buNone/>
              <a:defRPr sz="4500"/>
            </a:lvl1pPr>
            <a:lvl2pPr marL="640080" indent="0">
              <a:buNone/>
              <a:defRPr sz="3900"/>
            </a:lvl2pPr>
            <a:lvl3pPr marL="1280160" indent="0">
              <a:buNone/>
              <a:defRPr sz="3400"/>
            </a:lvl3pPr>
            <a:lvl4pPr marL="1920240" indent="0">
              <a:buNone/>
              <a:defRPr sz="2800"/>
            </a:lvl4pPr>
            <a:lvl5pPr marL="2560320" indent="0">
              <a:buNone/>
              <a:defRPr sz="2800"/>
            </a:lvl5pPr>
            <a:lvl6pPr marL="3200400" indent="0">
              <a:buNone/>
              <a:defRPr sz="2800"/>
            </a:lvl6pPr>
            <a:lvl7pPr marL="3840480" indent="0">
              <a:buNone/>
              <a:defRPr sz="2800"/>
            </a:lvl7pPr>
            <a:lvl8pPr marL="4480560" indent="0">
              <a:buNone/>
              <a:defRPr sz="2800"/>
            </a:lvl8pPr>
            <a:lvl9pPr marL="5120640" indent="0">
              <a:buNone/>
              <a:defRPr sz="28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509203" y="7514273"/>
            <a:ext cx="7680960" cy="1126807"/>
          </a:xfrm>
        </p:spPr>
        <p:txBody>
          <a:bodyPr/>
          <a:lstStyle>
            <a:lvl1pPr marL="0" indent="0">
              <a:buNone/>
              <a:defRPr sz="2000"/>
            </a:lvl1pPr>
            <a:lvl2pPr marL="640080" indent="0">
              <a:buNone/>
              <a:defRPr sz="1700"/>
            </a:lvl2pPr>
            <a:lvl3pPr marL="1280160" indent="0">
              <a:buNone/>
              <a:defRPr sz="1400"/>
            </a:lvl3pPr>
            <a:lvl4pPr marL="1920240" indent="0">
              <a:buNone/>
              <a:defRPr sz="1300"/>
            </a:lvl4pPr>
            <a:lvl5pPr marL="2560320" indent="0">
              <a:buNone/>
              <a:defRPr sz="1300"/>
            </a:lvl5pPr>
            <a:lvl6pPr marL="3200400" indent="0">
              <a:buNone/>
              <a:defRPr sz="1300"/>
            </a:lvl6pPr>
            <a:lvl7pPr marL="3840480" indent="0">
              <a:buNone/>
              <a:defRPr sz="1300"/>
            </a:lvl7pPr>
            <a:lvl8pPr marL="4480560" indent="0">
              <a:buNone/>
              <a:defRPr sz="1300"/>
            </a:lvl8pPr>
            <a:lvl9pPr marL="5120640" indent="0">
              <a:buNone/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4179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9" Type="http://schemas.openxmlformats.org/officeDocument/2006/relationships/tags" Target="../tags/tag32.xml"/><Relationship Id="rId21" Type="http://schemas.openxmlformats.org/officeDocument/2006/relationships/tags" Target="../tags/tag14.xml"/><Relationship Id="rId34" Type="http://schemas.openxmlformats.org/officeDocument/2006/relationships/tags" Target="../tags/tag27.xml"/><Relationship Id="rId42" Type="http://schemas.openxmlformats.org/officeDocument/2006/relationships/tags" Target="../tags/tag35.xml"/><Relationship Id="rId47" Type="http://schemas.openxmlformats.org/officeDocument/2006/relationships/tags" Target="../tags/tag40.xml"/><Relationship Id="rId50" Type="http://schemas.openxmlformats.org/officeDocument/2006/relationships/tags" Target="../tags/tag4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9.xml"/><Relationship Id="rId29" Type="http://schemas.openxmlformats.org/officeDocument/2006/relationships/tags" Target="../tags/tag22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32" Type="http://schemas.openxmlformats.org/officeDocument/2006/relationships/tags" Target="../tags/tag25.xml"/><Relationship Id="rId37" Type="http://schemas.openxmlformats.org/officeDocument/2006/relationships/tags" Target="../tags/tag30.xml"/><Relationship Id="rId40" Type="http://schemas.openxmlformats.org/officeDocument/2006/relationships/tags" Target="../tags/tag33.xml"/><Relationship Id="rId45" Type="http://schemas.openxmlformats.org/officeDocument/2006/relationships/tags" Target="../tags/tag38.xml"/><Relationship Id="rId53" Type="http://schemas.openxmlformats.org/officeDocument/2006/relationships/image" Target="../media/image5.png"/><Relationship Id="rId5" Type="http://schemas.openxmlformats.org/officeDocument/2006/relationships/slideLayout" Target="../slideLayouts/slideLayout18.xml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31" Type="http://schemas.openxmlformats.org/officeDocument/2006/relationships/tags" Target="../tags/tag24.xml"/><Relationship Id="rId44" Type="http://schemas.openxmlformats.org/officeDocument/2006/relationships/tags" Target="../tags/tag37.xml"/><Relationship Id="rId52" Type="http://schemas.openxmlformats.org/officeDocument/2006/relationships/image" Target="../media/image4.emf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tags" Target="../tags/tag20.xml"/><Relationship Id="rId30" Type="http://schemas.openxmlformats.org/officeDocument/2006/relationships/tags" Target="../tags/tag23.xml"/><Relationship Id="rId35" Type="http://schemas.openxmlformats.org/officeDocument/2006/relationships/tags" Target="../tags/tag28.xml"/><Relationship Id="rId43" Type="http://schemas.openxmlformats.org/officeDocument/2006/relationships/tags" Target="../tags/tag36.xml"/><Relationship Id="rId48" Type="http://schemas.openxmlformats.org/officeDocument/2006/relationships/tags" Target="../tags/tag41.xml"/><Relationship Id="rId8" Type="http://schemas.openxmlformats.org/officeDocument/2006/relationships/tags" Target="../tags/tag1.xml"/><Relationship Id="rId51" Type="http://schemas.openxmlformats.org/officeDocument/2006/relationships/oleObject" Target="../embeddings/oleObject1.bin"/><Relationship Id="rId3" Type="http://schemas.openxmlformats.org/officeDocument/2006/relationships/slideLayout" Target="../slideLayouts/slideLayout16.x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33" Type="http://schemas.openxmlformats.org/officeDocument/2006/relationships/tags" Target="../tags/tag26.xml"/><Relationship Id="rId38" Type="http://schemas.openxmlformats.org/officeDocument/2006/relationships/tags" Target="../tags/tag31.xml"/><Relationship Id="rId46" Type="http://schemas.openxmlformats.org/officeDocument/2006/relationships/tags" Target="../tags/tag39.xml"/><Relationship Id="rId20" Type="http://schemas.openxmlformats.org/officeDocument/2006/relationships/tags" Target="../tags/tag13.xml"/><Relationship Id="rId41" Type="http://schemas.openxmlformats.org/officeDocument/2006/relationships/tags" Target="../tags/tag34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2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tags" Target="../tags/tag21.xml"/><Relationship Id="rId36" Type="http://schemas.openxmlformats.org/officeDocument/2006/relationships/tags" Target="../tags/tag29.xml"/><Relationship Id="rId49" Type="http://schemas.openxmlformats.org/officeDocument/2006/relationships/tags" Target="../tags/tag4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21.xml"/><Relationship Id="rId7" Type="http://schemas.openxmlformats.org/officeDocument/2006/relationships/tags" Target="../tags/tag55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54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3.xml"/><Relationship Id="rId9" Type="http://schemas.openxmlformats.org/officeDocument/2006/relationships/image" Target="../media/image4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40080" y="384493"/>
            <a:ext cx="11521440" cy="1600200"/>
          </a:xfrm>
          <a:prstGeom prst="rect">
            <a:avLst/>
          </a:prstGeom>
        </p:spPr>
        <p:txBody>
          <a:bodyPr vert="horz" lIns="128016" tIns="64008" rIns="128016" bIns="6400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40080" y="2240281"/>
            <a:ext cx="11521440" cy="6336348"/>
          </a:xfrm>
          <a:prstGeom prst="rect">
            <a:avLst/>
          </a:prstGeom>
        </p:spPr>
        <p:txBody>
          <a:bodyPr vert="horz" lIns="128016" tIns="64008" rIns="128016" bIns="6400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40080" y="8898891"/>
            <a:ext cx="29870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l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373880" y="8898891"/>
            <a:ext cx="40538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ct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74480" y="8898891"/>
            <a:ext cx="2987040" cy="511175"/>
          </a:xfrm>
          <a:prstGeom prst="rect">
            <a:avLst/>
          </a:prstGeom>
        </p:spPr>
        <p:txBody>
          <a:bodyPr vert="horz" lIns="128016" tIns="64008" rIns="128016" bIns="64008" rtlCol="0" anchor="ctr"/>
          <a:lstStyle>
            <a:lvl1pPr algn="r">
              <a:defRPr sz="17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EA656C6-D47B-49B4-B9AC-A94CD82ACFD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05667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1280160" rtl="0" eaLnBrk="1" latinLnBrk="0" hangingPunct="1">
        <a:spcBef>
          <a:spcPct val="0"/>
        </a:spcBef>
        <a:buNone/>
        <a:defRPr sz="6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80060" indent="-48006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4500" kern="1200">
          <a:solidFill>
            <a:schemeClr val="tx1"/>
          </a:solidFill>
          <a:latin typeface="+mn-lt"/>
          <a:ea typeface="+mn-ea"/>
          <a:cs typeface="+mn-cs"/>
        </a:defRPr>
      </a:lvl1pPr>
      <a:lvl2pPr marL="1040130" indent="-40005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3900" kern="1200">
          <a:solidFill>
            <a:schemeClr val="tx1"/>
          </a:solidFill>
          <a:latin typeface="+mn-lt"/>
          <a:ea typeface="+mn-ea"/>
          <a:cs typeface="+mn-cs"/>
        </a:defRPr>
      </a:lvl2pPr>
      <a:lvl3pPr marL="16002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3400" kern="1200">
          <a:solidFill>
            <a:schemeClr val="tx1"/>
          </a:solidFill>
          <a:latin typeface="+mn-lt"/>
          <a:ea typeface="+mn-ea"/>
          <a:cs typeface="+mn-cs"/>
        </a:defRPr>
      </a:lvl3pPr>
      <a:lvl4pPr marL="22402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4pPr>
      <a:lvl5pPr marL="288036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»"/>
        <a:defRPr sz="2800" kern="1200">
          <a:solidFill>
            <a:schemeClr val="tx1"/>
          </a:solidFill>
          <a:latin typeface="+mn-lt"/>
          <a:ea typeface="+mn-ea"/>
          <a:cs typeface="+mn-cs"/>
        </a:defRPr>
      </a:lvl5pPr>
      <a:lvl6pPr marL="352044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6pPr>
      <a:lvl7pPr marL="416052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7pPr>
      <a:lvl8pPr marL="480060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8pPr>
      <a:lvl9pPr marL="5440680" indent="-320040" algn="l" defTabSz="128016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2801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9202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4pPr>
      <a:lvl5pPr marL="256032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5pPr>
      <a:lvl6pPr marL="320040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6pPr>
      <a:lvl7pPr marL="384048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7pPr>
      <a:lvl8pPr marL="448056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8pPr>
      <a:lvl9pPr marL="5120640" algn="l" defTabSz="1280160" rtl="0" eaLnBrk="1" latinLnBrk="0" hangingPunct="1">
        <a:defRPr sz="2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1" name="think-cell Slide" r:id="rId51" imgW="270" imgH="270" progId="TCLayout.ActiveDocument.1">
                  <p:embed/>
                </p:oleObj>
              </mc:Choice>
              <mc:Fallback>
                <p:oleObj name="think-cell Slide" r:id="rId5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9"/>
            </p:custDataLst>
          </p:nvPr>
        </p:nvSpPr>
        <p:spPr bwMode="auto">
          <a:xfrm>
            <a:off x="0" y="0"/>
            <a:ext cx="226778" cy="22676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240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90274" y="748156"/>
            <a:ext cx="7790735" cy="8875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90274" y="289903"/>
            <a:ext cx="700513" cy="1757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142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90274" y="1699370"/>
            <a:ext cx="12193839" cy="3016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96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70085" y="8472489"/>
            <a:ext cx="12311758" cy="172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120" baseline="0" dirty="0">
                <a:solidFill>
                  <a:schemeClr val="accent6"/>
                </a:solidFill>
                <a:latin typeface="+mn-lt"/>
                <a:ea typeface="+mn-ea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70085" y="8760482"/>
            <a:ext cx="10285349" cy="1723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870765" indent="-870765" defTabSz="1278936">
              <a:tabLst>
                <a:tab pos="900245" algn="l"/>
              </a:tabLst>
            </a:pPr>
            <a:r>
              <a:rPr lang="ru-RU" sz="1120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 bwMode="gray">
          <a:xfrm>
            <a:off x="290274" y="3854223"/>
            <a:ext cx="12193839" cy="15827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90274" y="2147125"/>
            <a:ext cx="12193839" cy="535164"/>
            <a:chOff x="915" y="794"/>
            <a:chExt cx="2686" cy="236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4"/>
              <a:ext cx="2686" cy="23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680" b="1" baseline="0" dirty="0">
                  <a:solidFill>
                    <a:schemeClr val="tx2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168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791939" y="270120"/>
            <a:ext cx="689909" cy="218905"/>
            <a:chOff x="8257822" y="285750"/>
            <a:chExt cx="482953" cy="153247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7016" y="285750"/>
              <a:ext cx="463759" cy="14243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78936">
                <a:buClr>
                  <a:srgbClr val="002960"/>
                </a:buClr>
              </a:pPr>
              <a:r>
                <a:rPr lang="ru-RU" sz="1142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57822" y="285750"/>
              <a:ext cx="0" cy="153247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57822" y="438997"/>
              <a:ext cx="48295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1545252" y="72566"/>
            <a:ext cx="938860" cy="17460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78936"/>
            <a:endParaRPr lang="ru-RU" sz="114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grpSp>
        <p:nvGrpSpPr>
          <p:cNvPr id="59" name="LegendLines" hidden="1"/>
          <p:cNvGrpSpPr/>
          <p:nvPr userDrawn="1"/>
        </p:nvGrpSpPr>
        <p:grpSpPr>
          <a:xfrm>
            <a:off x="10776214" y="3785020"/>
            <a:ext cx="1658797" cy="1087719"/>
            <a:chOff x="7607284" y="279400"/>
            <a:chExt cx="1161199" cy="761475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48"/>
              </p:custDataLst>
            </p:nvPr>
          </p:nvSpPr>
          <p:spPr bwMode="gray">
            <a:xfrm>
              <a:off x="8169259" y="279400"/>
              <a:ext cx="599224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49"/>
              </p:custDataLst>
            </p:nvPr>
          </p:nvSpPr>
          <p:spPr bwMode="gray">
            <a:xfrm>
              <a:off x="8169259" y="546100"/>
              <a:ext cx="599224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 err="1">
                  <a:latin typeface="+mn-lt"/>
                  <a:ea typeface="+mn-ea"/>
                </a:rPr>
                <a:t>Legend</a:t>
              </a:r>
              <a:endParaRPr lang="ru-RU" sz="1999" baseline="0" dirty="0">
                <a:latin typeface="+mn-lt"/>
                <a:ea typeface="+mn-ea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8169259" y="825501"/>
              <a:ext cx="599224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 userDrawn="1"/>
        </p:nvGrpSpPr>
        <p:grpSpPr>
          <a:xfrm>
            <a:off x="11216168" y="5079895"/>
            <a:ext cx="1218849" cy="1468683"/>
            <a:chOff x="5894005" y="919828"/>
            <a:chExt cx="853225" cy="1028175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ru-RU" sz="2331" baseline="0" dirty="0">
                <a:latin typeface="+mn-lt"/>
                <a:ea typeface="+mn-ea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44"/>
              </p:custDataLst>
            </p:nvPr>
          </p:nvSpPr>
          <p:spPr bwMode="gray">
            <a:xfrm>
              <a:off x="6148005" y="919828"/>
              <a:ext cx="599225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45"/>
              </p:custDataLst>
            </p:nvPr>
          </p:nvSpPr>
          <p:spPr bwMode="gray">
            <a:xfrm>
              <a:off x="6148005" y="1189703"/>
              <a:ext cx="599225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46"/>
              </p:custDataLst>
            </p:nvPr>
          </p:nvSpPr>
          <p:spPr bwMode="gray">
            <a:xfrm>
              <a:off x="6148005" y="1461166"/>
              <a:ext cx="599225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47"/>
              </p:custDataLst>
            </p:nvPr>
          </p:nvSpPr>
          <p:spPr bwMode="gray">
            <a:xfrm>
              <a:off x="6148005" y="1732629"/>
              <a:ext cx="599225" cy="2153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 userDrawn="1"/>
        </p:nvGrpSpPr>
        <p:grpSpPr>
          <a:xfrm>
            <a:off x="11120916" y="6755733"/>
            <a:ext cx="1314095" cy="1879128"/>
            <a:chOff x="5894005" y="2696542"/>
            <a:chExt cx="919899" cy="1315514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ru-RU" sz="2331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214680" y="2696542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6214680" y="2974156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>
                  <a:latin typeface="+mn-lt"/>
                  <a:ea typeface="+mn-ea"/>
                </a:rPr>
                <a:t>Legend</a:t>
              </a:r>
              <a:endParaRPr lang="ru-RU" sz="1999" baseline="0" dirty="0">
                <a:latin typeface="+mn-lt"/>
                <a:ea typeface="+mn-ea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6214680" y="3248596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6214680" y="3521448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gray">
            <a:xfrm>
              <a:off x="6214680" y="3796682"/>
              <a:ext cx="599224" cy="21537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78936">
                <a:buClr>
                  <a:schemeClr val="tx2"/>
                </a:buClr>
              </a:pPr>
              <a:r>
                <a:rPr lang="ru-RU" sz="1999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id="{A5B66859-B8C5-4236-957E-FF42841FD1BE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780150" y="3490729"/>
            <a:ext cx="2179334" cy="2176937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 algn="ctr"/>
            <a:r>
              <a:rPr lang="en-US" sz="1999" dirty="0"/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id="{4AAC3372-A48A-4820-8F6F-A51D8691BD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130838" y="3490727"/>
            <a:ext cx="2179334" cy="2176937"/>
          </a:xfrm>
          <a:prstGeom prst="rect">
            <a:avLst/>
          </a:prstGeom>
          <a:solidFill>
            <a:schemeClr val="accent1"/>
          </a:solidFill>
        </p:spPr>
        <p:txBody>
          <a:bodyPr vert="horz" lIns="106680" tIns="106680" rIns="106680" bIns="10668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999"/>
              <a:t>Text</a:t>
            </a:r>
            <a:endParaRPr lang="en-US" sz="1999" dirty="0"/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id="{06304376-23F1-4490-9114-C60C97DE22A2}"/>
              </a:ext>
            </a:extLst>
          </p:cNvPr>
          <p:cNvSpPr txBox="1">
            <a:spLocks/>
          </p:cNvSpPr>
          <p:nvPr userDrawn="1"/>
        </p:nvSpPr>
        <p:spPr bwMode="gray">
          <a:xfrm>
            <a:off x="7552263" y="3490727"/>
            <a:ext cx="2179334" cy="2176937"/>
          </a:xfrm>
          <a:prstGeom prst="roundRect">
            <a:avLst/>
          </a:prstGeom>
          <a:solidFill>
            <a:schemeClr val="accent1"/>
          </a:solidFill>
        </p:spPr>
        <p:txBody>
          <a:bodyPr vert="horz" lIns="106680" tIns="106680" rIns="106680" bIns="10668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999"/>
              <a:t>Text</a:t>
            </a:r>
            <a:endParaRPr lang="en-US" sz="1999" dirty="0"/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id="{BCD31708-CFF4-45E1-8031-671FFD56A27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2780150" y="7401559"/>
            <a:ext cx="2614748" cy="1306162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1008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0"/>
            <a:r>
              <a:rPr lang="en-US" sz="1999" dirty="0"/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id="{6026344B-A03D-4688-A421-335E01CB795F}"/>
              </a:ext>
            </a:extLst>
          </p:cNvPr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gray">
          <a:xfrm rot="5400000">
            <a:off x="7933915" y="5452798"/>
            <a:ext cx="4414829" cy="490693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102847" tIns="102847" rIns="102847" bIns="102847" anchor="ctr"/>
          <a:lstStyle/>
          <a:p>
            <a:endParaRPr lang="en-US" sz="2285">
              <a:latin typeface="+mn-lt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id="{91B484D6-7466-4B36-93B1-31B47A6138BD}"/>
              </a:ext>
            </a:extLst>
          </p:cNvPr>
          <p:cNvSpPr>
            <a:spLocks noChangeAspect="1"/>
          </p:cNvSpPr>
          <p:nvPr userDrawn="1">
            <p:custDataLst>
              <p:tags r:id="rId11"/>
            </p:custDataLst>
          </p:nvPr>
        </p:nvSpPr>
        <p:spPr bwMode="gray">
          <a:xfrm>
            <a:off x="8512634" y="6020831"/>
            <a:ext cx="272133" cy="2358352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2331" baseline="30000"/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id="{D49398DB-D67F-4A62-A452-18B19078B85C}"/>
              </a:ext>
            </a:extLst>
          </p:cNvPr>
          <p:cNvGrpSpPr/>
          <p:nvPr userDrawn="1">
            <p:custDataLst>
              <p:tags r:id="rId12"/>
            </p:custDataLst>
          </p:nvPr>
        </p:nvGrpSpPr>
        <p:grpSpPr bwMode="gray">
          <a:xfrm>
            <a:off x="9127233" y="6020831"/>
            <a:ext cx="362939" cy="362823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285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 sz="2285" dirty="0">
                <a:latin typeface="+mn-lt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id="{128E73BA-1EBA-430C-88A0-35028544977C}"/>
              </a:ext>
            </a:extLst>
          </p:cNvPr>
          <p:cNvSpPr>
            <a:spLocks noChangeAspect="1"/>
          </p:cNvSpPr>
          <p:nvPr userDrawn="1">
            <p:custDataLst>
              <p:tags r:id="rId13"/>
            </p:custDataLst>
          </p:nvPr>
        </p:nvSpPr>
        <p:spPr>
          <a:xfrm>
            <a:off x="5646410" y="7644002"/>
            <a:ext cx="500402" cy="1143710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102847" tIns="102847" rIns="102847" bIns="10284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 defTabSz="1278936" eaLnBrk="1" latinLnBrk="0" hangingPunct="1">
              <a:buClr>
                <a:schemeClr val="tx2"/>
              </a:buClr>
              <a:buSzPct val="100000"/>
            </a:pPr>
            <a:endParaRPr lang="ru-RU" sz="2331" baseline="0" dirty="0" err="1">
              <a:solidFill>
                <a:schemeClr val="tx1"/>
              </a:solidFill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id="{0895B480-2B5E-4F2C-8EAF-E65010EF54C5}"/>
              </a:ext>
            </a:extLst>
          </p:cNvPr>
          <p:cNvGrpSpPr>
            <a:grpSpLocks noChangeAspect="1"/>
          </p:cNvGrpSpPr>
          <p:nvPr userDrawn="1">
            <p:custDataLst>
              <p:tags r:id="rId14"/>
            </p:custDataLst>
          </p:nvPr>
        </p:nvGrpSpPr>
        <p:grpSpPr>
          <a:xfrm>
            <a:off x="6359973" y="7644002"/>
            <a:ext cx="761264" cy="1143710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1278936" eaLnBrk="1" latinLnBrk="0" hangingPunct="1">
                <a:buClr>
                  <a:schemeClr val="tx2"/>
                </a:buClr>
                <a:buSzPct val="100000"/>
              </a:pPr>
              <a:endParaRPr lang="ru-RU" sz="2331" baseline="0" dirty="0" err="1">
                <a:solidFill>
                  <a:schemeClr val="tx1"/>
                </a:solidFill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1278936" eaLnBrk="1" latinLnBrk="0" hangingPunct="1">
                <a:buClr>
                  <a:schemeClr val="tx2"/>
                </a:buClr>
                <a:buSzPct val="100000"/>
              </a:pPr>
              <a:endParaRPr lang="ru-RU" sz="2331" baseline="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id="{14374A13-E484-4DAA-8C78-650B0DAAE795}"/>
              </a:ext>
            </a:extLst>
          </p:cNvPr>
          <p:cNvGrpSpPr>
            <a:grpSpLocks noChangeAspect="1"/>
          </p:cNvGrpSpPr>
          <p:nvPr userDrawn="1">
            <p:custDataLst>
              <p:tags r:id="rId15"/>
            </p:custDataLst>
          </p:nvPr>
        </p:nvGrpSpPr>
        <p:grpSpPr>
          <a:xfrm>
            <a:off x="7334399" y="7644002"/>
            <a:ext cx="932831" cy="1143710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1278936" eaLnBrk="1" latinLnBrk="0" hangingPunct="1">
                <a:buClr>
                  <a:schemeClr val="tx2"/>
                </a:buClr>
                <a:buSzPct val="100000"/>
              </a:pPr>
              <a:endParaRPr lang="ru-RU" sz="2331" baseline="0" dirty="0" err="1">
                <a:solidFill>
                  <a:schemeClr val="tx1"/>
                </a:solidFill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l" defTabSz="1278936" eaLnBrk="1" latinLnBrk="0" hangingPunct="1">
                <a:buClr>
                  <a:schemeClr val="tx2"/>
                </a:buClr>
                <a:buSzPct val="100000"/>
              </a:pPr>
              <a:endParaRPr lang="ru-RU" sz="2331" baseline="0" dirty="0" err="1">
                <a:solidFill>
                  <a:schemeClr val="tx1"/>
                </a:solidFill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id="{743D461F-071D-4C30-B23A-AE700C43BE97}"/>
              </a:ext>
            </a:extLst>
          </p:cNvPr>
          <p:cNvGrpSpPr>
            <a:grpSpLocks/>
          </p:cNvGrpSpPr>
          <p:nvPr userDrawn="1">
            <p:custDataLst>
              <p:tags r:id="rId16"/>
            </p:custDataLst>
          </p:nvPr>
        </p:nvGrpSpPr>
        <p:grpSpPr bwMode="gray">
          <a:xfrm>
            <a:off x="2783289" y="6020831"/>
            <a:ext cx="2614748" cy="1306162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id="{56B90358-91E7-4F7A-8E67-A3838D0D7B1D}"/>
                </a:ext>
              </a:extLst>
            </p:cNvPr>
            <p:cNvSpPr/>
            <p:nvPr>
              <p:custDataLst>
                <p:tags r:id="rId2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2285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345FE59-7E1E-4D60-A7E9-0170F89C6159}"/>
                </a:ext>
              </a:extLst>
            </p:cNvPr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999" b="0" dirty="0"/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id="{372A61CB-91D8-4152-9504-873FB3B2ECAC}"/>
              </a:ext>
            </a:extLst>
          </p:cNvPr>
          <p:cNvGrpSpPr/>
          <p:nvPr userDrawn="1">
            <p:custDataLst>
              <p:tags r:id="rId17"/>
            </p:custDataLst>
          </p:nvPr>
        </p:nvGrpSpPr>
        <p:grpSpPr bwMode="gray">
          <a:xfrm>
            <a:off x="5647961" y="6020831"/>
            <a:ext cx="2613159" cy="1306162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id="{66E1C004-2490-400A-AECC-C481FEEBCBEA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2285" b="1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4E9D728F-AF5A-4401-AE28-6019A508482E}"/>
                </a:ext>
              </a:extLst>
            </p:cNvPr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999" dirty="0"/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id="{6D183288-53DE-4755-9E56-EE52B7612403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de-DE" sz="2285" b="1" dirty="0" err="1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252FE84C-CAD5-45AF-9BFB-C94D9E5BDC39}"/>
                </a:ext>
              </a:extLst>
            </p:cNvPr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0"/>
              <a:r>
                <a:rPr lang="en-US" sz="1999"/>
                <a:t>Text</a:t>
              </a:r>
              <a:endParaRPr lang="en-US" sz="1999" dirty="0"/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id="{2A12DA99-A00D-4EE2-B4EA-C3DEF23DFE52}"/>
              </a:ext>
            </a:extLst>
          </p:cNvPr>
          <p:cNvPicPr>
            <a:picLocks/>
          </p:cNvPicPr>
          <p:nvPr userDrawn="1"/>
        </p:nvPicPr>
        <p:blipFill rotWithShape="1"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39119" y="748156"/>
            <a:ext cx="4462482" cy="887519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id="{E5F03421-F063-43E9-B7C3-8070DCD8E05D}"/>
              </a:ext>
            </a:extLst>
          </p:cNvPr>
          <p:cNvSpPr>
            <a:spLocks/>
          </p:cNvSpPr>
          <p:nvPr userDrawn="1"/>
        </p:nvSpPr>
        <p:spPr>
          <a:xfrm>
            <a:off x="0" y="748156"/>
            <a:ext cx="176400" cy="887519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3500" dirty="0"/>
          </a:p>
        </p:txBody>
      </p:sp>
    </p:spTree>
    <p:extLst>
      <p:ext uri="{BB962C8B-B14F-4D97-AF65-F5344CB8AC3E}">
        <p14:creationId xmlns:p14="http://schemas.microsoft.com/office/powerpoint/2010/main" val="254443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</p:sldLayoutIdLst>
  <p:hf hdr="0" ftr="0" dt="0"/>
  <p:txStyles>
    <p:titleStyle>
      <a:lvl1pPr algn="l" defTabSz="1278936" rtl="0" eaLnBrk="1" fontAlgn="base" hangingPunct="1">
        <a:spcBef>
          <a:spcPct val="0"/>
        </a:spcBef>
        <a:spcAft>
          <a:spcPct val="0"/>
        </a:spcAft>
        <a:tabLst>
          <a:tab pos="385494" algn="l"/>
        </a:tabLst>
        <a:defRPr sz="224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2pPr>
      <a:lvl3pPr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3pPr>
      <a:lvl4pPr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4pPr>
      <a:lvl5pPr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5pPr>
      <a:lvl6pPr marL="653073"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6pPr>
      <a:lvl7pPr marL="1306147"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7pPr>
      <a:lvl8pPr marL="1959220"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8pPr>
      <a:lvl9pPr marL="2612295" algn="l" defTabSz="1278936" rtl="0" eaLnBrk="1" fontAlgn="base" hangingPunct="1">
        <a:spcBef>
          <a:spcPct val="0"/>
        </a:spcBef>
        <a:spcAft>
          <a:spcPct val="0"/>
        </a:spcAft>
        <a:defRPr sz="2715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999" baseline="0">
          <a:solidFill>
            <a:schemeClr val="tx1"/>
          </a:solidFill>
          <a:latin typeface="+mn-lt"/>
          <a:ea typeface="+mn-ea"/>
          <a:cs typeface="+mn-cs"/>
        </a:defRPr>
      </a:lvl1pPr>
      <a:lvl2pPr marL="282827" indent="-282827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999" baseline="0">
          <a:solidFill>
            <a:schemeClr val="tx1"/>
          </a:solidFill>
          <a:latin typeface="+mn-lt"/>
        </a:defRPr>
      </a:lvl2pPr>
      <a:lvl3pPr marL="565655" indent="-282827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999" baseline="0">
          <a:solidFill>
            <a:schemeClr val="tx1"/>
          </a:solidFill>
          <a:latin typeface="+mn-lt"/>
        </a:defRPr>
      </a:lvl3pPr>
      <a:lvl4pPr marL="848481" indent="-282827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999" baseline="0">
          <a:solidFill>
            <a:schemeClr val="tx1"/>
          </a:solidFill>
          <a:latin typeface="+mn-lt"/>
        </a:defRPr>
      </a:lvl4pPr>
      <a:lvl5pPr marL="1131309" indent="-282827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999" baseline="0">
          <a:solidFill>
            <a:schemeClr val="tx1"/>
          </a:solidFill>
          <a:latin typeface="+mn-lt"/>
        </a:defRPr>
      </a:lvl5pPr>
      <a:lvl6pPr marL="1071041" indent="-185945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6pPr>
      <a:lvl7pPr marL="1071041" indent="-185945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7pPr>
      <a:lvl8pPr marL="1071041" indent="-185945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8pPr>
      <a:lvl9pPr marL="1071041" indent="-185945" algn="l" defTabSz="127893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1pPr>
      <a:lvl2pPr marL="653073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2pPr>
      <a:lvl3pPr marL="1306147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3pPr>
      <a:lvl4pPr marL="1959220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4pPr>
      <a:lvl5pPr marL="2612295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5pPr>
      <a:lvl6pPr marL="3265368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6pPr>
      <a:lvl7pPr marL="3918442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7pPr>
      <a:lvl8pPr marL="4571515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8pPr>
      <a:lvl9pPr marL="5224589" algn="l" defTabSz="1306147" rtl="0" eaLnBrk="1" latinLnBrk="0" hangingPunct="1">
        <a:defRPr sz="25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0" y="0"/>
          <a:ext cx="226778" cy="22676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26778" cy="22676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26778" cy="22676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71" b="1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319758" y="427960"/>
            <a:ext cx="700513" cy="17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143" cap="all" baseline="0" dirty="0">
                <a:solidFill>
                  <a:schemeClr val="accent6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319758" y="1739947"/>
            <a:ext cx="12089247" cy="307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2000" baseline="0" dirty="0">
                <a:solidFill>
                  <a:schemeClr val="accent6"/>
                </a:solidFill>
                <a:latin typeface="+mn-lt"/>
                <a:ea typeface="+mn-ea"/>
              </a:rPr>
              <a:t>КЛИЕНТ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319758" y="8413724"/>
            <a:ext cx="12089247" cy="176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143" baseline="0" dirty="0">
                <a:solidFill>
                  <a:schemeClr val="accent6"/>
                </a:solidFill>
                <a:latin typeface="+mn-lt"/>
                <a:ea typeface="+mn-ea"/>
              </a:rPr>
              <a:t>1 Сноска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319758" y="8701716"/>
            <a:ext cx="12089247" cy="1768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870753" indent="-870753" defTabSz="1278918">
              <a:tabLst>
                <a:tab pos="900232" algn="l"/>
              </a:tabLst>
            </a:pPr>
            <a:r>
              <a:rPr lang="ru-RU" sz="1143" baseline="0" dirty="0">
                <a:solidFill>
                  <a:schemeClr val="accent6"/>
                </a:solidFill>
                <a:latin typeface="+mn-lt"/>
                <a:ea typeface="+mn-ea"/>
              </a:rPr>
              <a:t>ИСТОЧНИК: источник</a:t>
            </a:r>
          </a:p>
        </p:txBody>
      </p:sp>
      <p:sp>
        <p:nvSpPr>
          <p:cNvPr id="3" name="Text Placeholder 2" hidden="1"/>
          <p:cNvSpPr>
            <a:spLocks noGrp="1"/>
          </p:cNvSpPr>
          <p:nvPr userDrawn="1">
            <p:ph type="body" idx="1"/>
          </p:nvPr>
        </p:nvSpPr>
        <p:spPr bwMode="gray">
          <a:xfrm>
            <a:off x="2075018" y="2787422"/>
            <a:ext cx="6145675" cy="158270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075017" y="1887328"/>
            <a:ext cx="6091248" cy="634940"/>
            <a:chOff x="915" y="750"/>
            <a:chExt cx="2686" cy="280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50"/>
              <a:ext cx="2686" cy="28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20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Название документа</a:t>
              </a:r>
            </a:p>
            <a:p>
              <a:r>
                <a:rPr lang="ru-RU" sz="20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 userDrawn="1"/>
        </p:nvGrpSpPr>
        <p:grpSpPr bwMode="gray">
          <a:xfrm>
            <a:off x="11732842" y="408176"/>
            <a:ext cx="676169" cy="215424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77016" y="285750"/>
              <a:ext cx="463759" cy="1425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78918">
                <a:buClr>
                  <a:srgbClr val="002960"/>
                </a:buClr>
              </a:pPr>
              <a:r>
                <a:rPr lang="ru-RU" sz="1143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1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19757" y="802694"/>
            <a:ext cx="7846507" cy="395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CEA909D4-919F-4C3D-88F9-7DF848F02718}"/>
              </a:ext>
            </a:extLst>
          </p:cNvPr>
          <p:cNvGrpSpPr/>
          <p:nvPr userDrawn="1"/>
        </p:nvGrpSpPr>
        <p:grpSpPr>
          <a:xfrm>
            <a:off x="0" y="9022863"/>
            <a:ext cx="12801600" cy="578337"/>
            <a:chOff x="0" y="6316601"/>
            <a:chExt cx="8961438" cy="404874"/>
          </a:xfrm>
        </p:grpSpPr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4834FFC4-F21A-4733-8CCF-5397D25429F6}"/>
                </a:ext>
              </a:extLst>
            </p:cNvPr>
            <p:cNvSpPr>
              <a:spLocks/>
            </p:cNvSpPr>
            <p:nvPr userDrawn="1"/>
          </p:nvSpPr>
          <p:spPr>
            <a:xfrm>
              <a:off x="0" y="6316601"/>
              <a:ext cx="2177984" cy="404874"/>
            </a:xfrm>
            <a:prstGeom prst="rect">
              <a:avLst/>
            </a:prstGeom>
            <a:solidFill>
              <a:srgbClr val="245F3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69" name="Rectangle 68">
              <a:extLst>
                <a:ext uri="{FF2B5EF4-FFF2-40B4-BE49-F238E27FC236}">
                  <a16:creationId xmlns:a16="http://schemas.microsoft.com/office/drawing/2014/main" id="{3674598C-1077-42B9-858B-743FA25B4B3E}"/>
                </a:ext>
              </a:extLst>
            </p:cNvPr>
            <p:cNvSpPr>
              <a:spLocks/>
            </p:cNvSpPr>
            <p:nvPr userDrawn="1"/>
          </p:nvSpPr>
          <p:spPr>
            <a:xfrm>
              <a:off x="2177984" y="6316601"/>
              <a:ext cx="1120774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1FDB9CD5-E1B1-4FA5-8411-BC1B2E36603B}"/>
                </a:ext>
              </a:extLst>
            </p:cNvPr>
            <p:cNvSpPr>
              <a:spLocks/>
            </p:cNvSpPr>
            <p:nvPr userDrawn="1"/>
          </p:nvSpPr>
          <p:spPr>
            <a:xfrm>
              <a:off x="3521076" y="6316601"/>
              <a:ext cx="682624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75626C68-F398-469B-9126-8BB394F6931A}"/>
                </a:ext>
              </a:extLst>
            </p:cNvPr>
            <p:cNvSpPr>
              <a:spLocks/>
            </p:cNvSpPr>
            <p:nvPr userDrawn="1"/>
          </p:nvSpPr>
          <p:spPr>
            <a:xfrm>
              <a:off x="4657726" y="6316601"/>
              <a:ext cx="1355724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9D485118-1345-4CB1-B6DC-D394B2C93BD4}"/>
                </a:ext>
              </a:extLst>
            </p:cNvPr>
            <p:cNvSpPr>
              <a:spLocks/>
            </p:cNvSpPr>
            <p:nvPr userDrawn="1"/>
          </p:nvSpPr>
          <p:spPr>
            <a:xfrm>
              <a:off x="6013450" y="6316601"/>
              <a:ext cx="454026" cy="404874"/>
            </a:xfrm>
            <a:prstGeom prst="rect">
              <a:avLst/>
            </a:prstGeom>
            <a:solidFill>
              <a:schemeClr val="accent5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544BD42B-99BB-400A-B72A-F40B8412097F}"/>
                </a:ext>
              </a:extLst>
            </p:cNvPr>
            <p:cNvSpPr>
              <a:spLocks/>
            </p:cNvSpPr>
            <p:nvPr userDrawn="1"/>
          </p:nvSpPr>
          <p:spPr>
            <a:xfrm>
              <a:off x="6699250" y="6316601"/>
              <a:ext cx="908050" cy="404874"/>
            </a:xfrm>
            <a:prstGeom prst="rect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AF0E33E2-03AC-4FBE-86AF-8C7E4D0CBB27}"/>
                </a:ext>
              </a:extLst>
            </p:cNvPr>
            <p:cNvSpPr>
              <a:spLocks/>
            </p:cNvSpPr>
            <p:nvPr userDrawn="1"/>
          </p:nvSpPr>
          <p:spPr>
            <a:xfrm>
              <a:off x="8053388" y="6316601"/>
              <a:ext cx="239712" cy="404874"/>
            </a:xfrm>
            <a:prstGeom prst="rect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59022F2A-0C4C-45CD-AE88-8D921708FA3A}"/>
                </a:ext>
              </a:extLst>
            </p:cNvPr>
            <p:cNvSpPr>
              <a:spLocks/>
            </p:cNvSpPr>
            <p:nvPr userDrawn="1"/>
          </p:nvSpPr>
          <p:spPr>
            <a:xfrm>
              <a:off x="8293100" y="6316601"/>
              <a:ext cx="668338" cy="404874"/>
            </a:xfrm>
            <a:prstGeom prst="rect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ru-RU" sz="3571" dirty="0">
                <a:solidFill>
                  <a:schemeClr val="tx1"/>
                </a:solidFill>
              </a:endParaRPr>
            </a:p>
          </p:txBody>
        </p:sp>
      </p:grpSp>
      <p:sp>
        <p:nvSpPr>
          <p:cNvPr id="9" name="Rectangle 8">
            <a:extLst>
              <a:ext uri="{FF2B5EF4-FFF2-40B4-BE49-F238E27FC236}">
                <a16:creationId xmlns:a16="http://schemas.microsoft.com/office/drawing/2014/main" id="{2C4AE2AD-3497-4255-B6A3-81FF0137329B}"/>
              </a:ext>
            </a:extLst>
          </p:cNvPr>
          <p:cNvSpPr>
            <a:spLocks/>
          </p:cNvSpPr>
          <p:nvPr userDrawn="1"/>
        </p:nvSpPr>
        <p:spPr>
          <a:xfrm>
            <a:off x="0" y="559037"/>
            <a:ext cx="176399" cy="887466"/>
          </a:xfrm>
          <a:prstGeom prst="rect">
            <a:avLst/>
          </a:prstGeom>
          <a:solidFill>
            <a:srgbClr val="F6BC1C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sz="3571" dirty="0">
              <a:solidFill>
                <a:schemeClr val="tx1"/>
              </a:solidFill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A68A6F0-9DAD-4462-A4D4-CE46486AC730}"/>
              </a:ext>
            </a:extLst>
          </p:cNvPr>
          <p:cNvGrpSpPr/>
          <p:nvPr userDrawn="1"/>
        </p:nvGrpSpPr>
        <p:grpSpPr>
          <a:xfrm>
            <a:off x="8330454" y="548133"/>
            <a:ext cx="4362441" cy="902260"/>
            <a:chOff x="5831524" y="528331"/>
            <a:chExt cx="3053817" cy="631642"/>
          </a:xfrm>
        </p:grpSpPr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5E1F027-8AF5-413B-A95C-5AFD1461D6E9}"/>
                </a:ext>
              </a:extLst>
            </p:cNvPr>
            <p:cNvSpPr/>
            <p:nvPr/>
          </p:nvSpPr>
          <p:spPr>
            <a:xfrm>
              <a:off x="5901707" y="528331"/>
              <a:ext cx="2219522" cy="631642"/>
            </a:xfrm>
            <a:custGeom>
              <a:avLst/>
              <a:gdLst>
                <a:gd name="connsiteX0" fmla="*/ 6049 w 2219522"/>
                <a:gd name="connsiteY0" fmla="*/ 6049 h 631641"/>
                <a:gd name="connsiteX1" fmla="*/ 2215921 w 2219522"/>
                <a:gd name="connsiteY1" fmla="*/ 6049 h 631641"/>
                <a:gd name="connsiteX2" fmla="*/ 2215921 w 2219522"/>
                <a:gd name="connsiteY2" fmla="*/ 628040 h 631641"/>
                <a:gd name="connsiteX3" fmla="*/ 6049 w 2219522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219522" h="631641">
                  <a:moveTo>
                    <a:pt x="6049" y="6049"/>
                  </a:moveTo>
                  <a:lnTo>
                    <a:pt x="2215921" y="6049"/>
                  </a:lnTo>
                  <a:lnTo>
                    <a:pt x="221592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0A8089BB-00FF-47EA-BD24-312F9E44E9C1}"/>
                </a:ext>
              </a:extLst>
            </p:cNvPr>
            <p:cNvSpPr/>
            <p:nvPr/>
          </p:nvSpPr>
          <p:spPr>
            <a:xfrm>
              <a:off x="583152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6231 w 78955"/>
                <a:gd name="connsiteY1" fmla="*/ 6049 h 631641"/>
                <a:gd name="connsiteX2" fmla="*/ 76231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6231" y="6049"/>
                  </a:lnTo>
                  <a:lnTo>
                    <a:pt x="76231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76775955-11DC-4BBA-B832-CE7C14DC0B78}"/>
                </a:ext>
              </a:extLst>
            </p:cNvPr>
            <p:cNvSpPr/>
            <p:nvPr/>
          </p:nvSpPr>
          <p:spPr>
            <a:xfrm>
              <a:off x="6492117" y="769583"/>
              <a:ext cx="105274" cy="149138"/>
            </a:xfrm>
            <a:custGeom>
              <a:avLst/>
              <a:gdLst>
                <a:gd name="connsiteX0" fmla="*/ 55176 w 105273"/>
                <a:gd name="connsiteY0" fmla="*/ 70090 h 149137"/>
                <a:gd name="connsiteX1" fmla="*/ 75354 w 105273"/>
                <a:gd name="connsiteY1" fmla="*/ 63949 h 149137"/>
                <a:gd name="connsiteX2" fmla="*/ 82372 w 105273"/>
                <a:gd name="connsiteY2" fmla="*/ 47281 h 149137"/>
                <a:gd name="connsiteX3" fmla="*/ 75354 w 105273"/>
                <a:gd name="connsiteY3" fmla="*/ 31490 h 149137"/>
                <a:gd name="connsiteX4" fmla="*/ 56054 w 105273"/>
                <a:gd name="connsiteY4" fmla="*/ 26226 h 149137"/>
                <a:gd name="connsiteX5" fmla="*/ 31490 w 105273"/>
                <a:gd name="connsiteY5" fmla="*/ 26226 h 149137"/>
                <a:gd name="connsiteX6" fmla="*/ 31490 w 105273"/>
                <a:gd name="connsiteY6" fmla="*/ 70090 h 149137"/>
                <a:gd name="connsiteX7" fmla="*/ 55176 w 105273"/>
                <a:gd name="connsiteY7" fmla="*/ 70090 h 149137"/>
                <a:gd name="connsiteX8" fmla="*/ 54299 w 105273"/>
                <a:gd name="connsiteY8" fmla="*/ 6049 h 149137"/>
                <a:gd name="connsiteX9" fmla="*/ 91145 w 105273"/>
                <a:gd name="connsiteY9" fmla="*/ 13944 h 149137"/>
                <a:gd name="connsiteX10" fmla="*/ 107813 w 105273"/>
                <a:gd name="connsiteY10" fmla="*/ 47281 h 149137"/>
                <a:gd name="connsiteX11" fmla="*/ 60440 w 105273"/>
                <a:gd name="connsiteY11" fmla="*/ 90268 h 149137"/>
                <a:gd name="connsiteX12" fmla="*/ 31490 w 105273"/>
                <a:gd name="connsiteY12" fmla="*/ 90268 h 149137"/>
                <a:gd name="connsiteX13" fmla="*/ 31490 w 105273"/>
                <a:gd name="connsiteY13" fmla="*/ 144659 h 149137"/>
                <a:gd name="connsiteX14" fmla="*/ 6049 w 105273"/>
                <a:gd name="connsiteY14" fmla="*/ 144659 h 149137"/>
                <a:gd name="connsiteX15" fmla="*/ 6049 w 105273"/>
                <a:gd name="connsiteY15" fmla="*/ 6049 h 149137"/>
                <a:gd name="connsiteX16" fmla="*/ 54299 w 105273"/>
                <a:gd name="connsiteY16" fmla="*/ 6049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05273" h="149137">
                  <a:moveTo>
                    <a:pt x="55176" y="70090"/>
                  </a:moveTo>
                  <a:cubicBezTo>
                    <a:pt x="60440" y="70090"/>
                    <a:pt x="69213" y="70090"/>
                    <a:pt x="75354" y="63949"/>
                  </a:cubicBezTo>
                  <a:cubicBezTo>
                    <a:pt x="79740" y="59563"/>
                    <a:pt x="82372" y="53422"/>
                    <a:pt x="82372" y="47281"/>
                  </a:cubicBezTo>
                  <a:cubicBezTo>
                    <a:pt x="82372" y="42017"/>
                    <a:pt x="79740" y="34999"/>
                    <a:pt x="75354" y="31490"/>
                  </a:cubicBezTo>
                  <a:cubicBezTo>
                    <a:pt x="70967" y="27981"/>
                    <a:pt x="63949" y="26226"/>
                    <a:pt x="56054" y="26226"/>
                  </a:cubicBezTo>
                  <a:lnTo>
                    <a:pt x="31490" y="26226"/>
                  </a:lnTo>
                  <a:lnTo>
                    <a:pt x="31490" y="70090"/>
                  </a:lnTo>
                  <a:lnTo>
                    <a:pt x="55176" y="70090"/>
                  </a:lnTo>
                  <a:close/>
                  <a:moveTo>
                    <a:pt x="54299" y="6049"/>
                  </a:moveTo>
                  <a:cubicBezTo>
                    <a:pt x="66581" y="6049"/>
                    <a:pt x="79740" y="6049"/>
                    <a:pt x="91145" y="13944"/>
                  </a:cubicBezTo>
                  <a:cubicBezTo>
                    <a:pt x="99041" y="19208"/>
                    <a:pt x="107813" y="28858"/>
                    <a:pt x="107813" y="47281"/>
                  </a:cubicBezTo>
                  <a:cubicBezTo>
                    <a:pt x="107813" y="67458"/>
                    <a:pt x="95531" y="90268"/>
                    <a:pt x="60440" y="90268"/>
                  </a:cubicBezTo>
                  <a:lnTo>
                    <a:pt x="31490" y="90268"/>
                  </a:lnTo>
                  <a:lnTo>
                    <a:pt x="31490" y="144659"/>
                  </a:lnTo>
                  <a:lnTo>
                    <a:pt x="6049" y="144659"/>
                  </a:lnTo>
                  <a:lnTo>
                    <a:pt x="6049" y="6049"/>
                  </a:lnTo>
                  <a:lnTo>
                    <a:pt x="542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2BE2F160-7D70-44E0-9601-894A653392C3}"/>
                </a:ext>
              </a:extLst>
            </p:cNvPr>
            <p:cNvSpPr/>
            <p:nvPr/>
          </p:nvSpPr>
          <p:spPr>
            <a:xfrm>
              <a:off x="6601695" y="802920"/>
              <a:ext cx="105274" cy="114046"/>
            </a:xfrm>
            <a:custGeom>
              <a:avLst/>
              <a:gdLst>
                <a:gd name="connsiteX0" fmla="*/ 38591 w 105273"/>
                <a:gd name="connsiteY0" fmla="*/ 88513 h 114046"/>
                <a:gd name="connsiteX1" fmla="*/ 54382 w 105273"/>
                <a:gd name="connsiteY1" fmla="*/ 96409 h 114046"/>
                <a:gd name="connsiteX2" fmla="*/ 70173 w 105273"/>
                <a:gd name="connsiteY2" fmla="*/ 88513 h 114046"/>
                <a:gd name="connsiteX3" fmla="*/ 78069 w 105273"/>
                <a:gd name="connsiteY3" fmla="*/ 59563 h 114046"/>
                <a:gd name="connsiteX4" fmla="*/ 70173 w 105273"/>
                <a:gd name="connsiteY4" fmla="*/ 30613 h 114046"/>
                <a:gd name="connsiteX5" fmla="*/ 54382 w 105273"/>
                <a:gd name="connsiteY5" fmla="*/ 22717 h 114046"/>
                <a:gd name="connsiteX6" fmla="*/ 38591 w 105273"/>
                <a:gd name="connsiteY6" fmla="*/ 30613 h 114046"/>
                <a:gd name="connsiteX7" fmla="*/ 30695 w 105273"/>
                <a:gd name="connsiteY7" fmla="*/ 59563 h 114046"/>
                <a:gd name="connsiteX8" fmla="*/ 38591 w 105273"/>
                <a:gd name="connsiteY8" fmla="*/ 88513 h 114046"/>
                <a:gd name="connsiteX9" fmla="*/ 21923 w 105273"/>
                <a:gd name="connsiteY9" fmla="*/ 18331 h 114046"/>
                <a:gd name="connsiteX10" fmla="*/ 55259 w 105273"/>
                <a:gd name="connsiteY10" fmla="*/ 6049 h 114046"/>
                <a:gd name="connsiteX11" fmla="*/ 88596 w 105273"/>
                <a:gd name="connsiteY11" fmla="*/ 18331 h 114046"/>
                <a:gd name="connsiteX12" fmla="*/ 104387 w 105273"/>
                <a:gd name="connsiteY12" fmla="*/ 59563 h 114046"/>
                <a:gd name="connsiteX13" fmla="*/ 88596 w 105273"/>
                <a:gd name="connsiteY13" fmla="*/ 100795 h 114046"/>
                <a:gd name="connsiteX14" fmla="*/ 55259 w 105273"/>
                <a:gd name="connsiteY14" fmla="*/ 113077 h 114046"/>
                <a:gd name="connsiteX15" fmla="*/ 21923 w 105273"/>
                <a:gd name="connsiteY15" fmla="*/ 100795 h 114046"/>
                <a:gd name="connsiteX16" fmla="*/ 6132 w 105273"/>
                <a:gd name="connsiteY16" fmla="*/ 59563 h 114046"/>
                <a:gd name="connsiteX17" fmla="*/ 21923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8591" y="88513"/>
                  </a:moveTo>
                  <a:cubicBezTo>
                    <a:pt x="41223" y="91145"/>
                    <a:pt x="45609" y="96409"/>
                    <a:pt x="54382" y="96409"/>
                  </a:cubicBezTo>
                  <a:cubicBezTo>
                    <a:pt x="63155" y="96409"/>
                    <a:pt x="68419" y="91145"/>
                    <a:pt x="70173" y="88513"/>
                  </a:cubicBezTo>
                  <a:cubicBezTo>
                    <a:pt x="71928" y="86758"/>
                    <a:pt x="78069" y="78863"/>
                    <a:pt x="78069" y="59563"/>
                  </a:cubicBezTo>
                  <a:cubicBezTo>
                    <a:pt x="78069" y="40263"/>
                    <a:pt x="71928" y="32367"/>
                    <a:pt x="70173" y="30613"/>
                  </a:cubicBezTo>
                  <a:cubicBezTo>
                    <a:pt x="67541" y="27981"/>
                    <a:pt x="63155" y="22717"/>
                    <a:pt x="54382" y="22717"/>
                  </a:cubicBezTo>
                  <a:cubicBezTo>
                    <a:pt x="45609" y="22717"/>
                    <a:pt x="40346" y="27981"/>
                    <a:pt x="38591" y="30613"/>
                  </a:cubicBezTo>
                  <a:cubicBezTo>
                    <a:pt x="36836" y="32367"/>
                    <a:pt x="30695" y="40263"/>
                    <a:pt x="30695" y="59563"/>
                  </a:cubicBezTo>
                  <a:cubicBezTo>
                    <a:pt x="30695" y="78863"/>
                    <a:pt x="36836" y="86758"/>
                    <a:pt x="38591" y="88513"/>
                  </a:cubicBezTo>
                  <a:moveTo>
                    <a:pt x="21923" y="18331"/>
                  </a:moveTo>
                  <a:cubicBezTo>
                    <a:pt x="28941" y="11312"/>
                    <a:pt x="39468" y="6049"/>
                    <a:pt x="55259" y="6049"/>
                  </a:cubicBezTo>
                  <a:cubicBezTo>
                    <a:pt x="71050" y="6049"/>
                    <a:pt x="81578" y="12190"/>
                    <a:pt x="88596" y="18331"/>
                  </a:cubicBezTo>
                  <a:cubicBezTo>
                    <a:pt x="99123" y="27981"/>
                    <a:pt x="104387" y="43772"/>
                    <a:pt x="104387" y="59563"/>
                  </a:cubicBezTo>
                  <a:cubicBezTo>
                    <a:pt x="104387" y="75354"/>
                    <a:pt x="99123" y="90268"/>
                    <a:pt x="88596" y="100795"/>
                  </a:cubicBezTo>
                  <a:cubicBezTo>
                    <a:pt x="81578" y="107813"/>
                    <a:pt x="71050" y="113077"/>
                    <a:pt x="55259" y="113077"/>
                  </a:cubicBezTo>
                  <a:cubicBezTo>
                    <a:pt x="39468" y="113077"/>
                    <a:pt x="28941" y="106936"/>
                    <a:pt x="21923" y="100795"/>
                  </a:cubicBezTo>
                  <a:cubicBezTo>
                    <a:pt x="11395" y="91145"/>
                    <a:pt x="6132" y="75354"/>
                    <a:pt x="6132" y="59563"/>
                  </a:cubicBezTo>
                  <a:cubicBezTo>
                    <a:pt x="5254" y="43772"/>
                    <a:pt x="11395" y="28858"/>
                    <a:pt x="21923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80AB954E-F4AE-45C9-8D52-16AA423D3032}"/>
                </a:ext>
              </a:extLst>
            </p:cNvPr>
            <p:cNvSpPr/>
            <p:nvPr/>
          </p:nvSpPr>
          <p:spPr>
            <a:xfrm>
              <a:off x="6711438" y="803797"/>
              <a:ext cx="96501" cy="114046"/>
            </a:xfrm>
            <a:custGeom>
              <a:avLst/>
              <a:gdLst>
                <a:gd name="connsiteX0" fmla="*/ 75354 w 96500"/>
                <a:gd name="connsiteY0" fmla="*/ 45526 h 114046"/>
                <a:gd name="connsiteX1" fmla="*/ 70090 w 96500"/>
                <a:gd name="connsiteY1" fmla="*/ 30613 h 114046"/>
                <a:gd name="connsiteX2" fmla="*/ 54299 w 96500"/>
                <a:gd name="connsiteY2" fmla="*/ 22717 h 114046"/>
                <a:gd name="connsiteX3" fmla="*/ 37631 w 96500"/>
                <a:gd name="connsiteY3" fmla="*/ 32367 h 114046"/>
                <a:gd name="connsiteX4" fmla="*/ 32367 w 96500"/>
                <a:gd name="connsiteY4" fmla="*/ 59563 h 114046"/>
                <a:gd name="connsiteX5" fmla="*/ 37631 w 96500"/>
                <a:gd name="connsiteY5" fmla="*/ 86758 h 114046"/>
                <a:gd name="connsiteX6" fmla="*/ 54299 w 96500"/>
                <a:gd name="connsiteY6" fmla="*/ 96409 h 114046"/>
                <a:gd name="connsiteX7" fmla="*/ 69213 w 96500"/>
                <a:gd name="connsiteY7" fmla="*/ 88513 h 114046"/>
                <a:gd name="connsiteX8" fmla="*/ 74477 w 96500"/>
                <a:gd name="connsiteY8" fmla="*/ 72722 h 114046"/>
                <a:gd name="connsiteX9" fmla="*/ 95531 w 96500"/>
                <a:gd name="connsiteY9" fmla="*/ 75354 h 114046"/>
                <a:gd name="connsiteX10" fmla="*/ 82372 w 96500"/>
                <a:gd name="connsiteY10" fmla="*/ 102550 h 114046"/>
                <a:gd name="connsiteX11" fmla="*/ 52545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5354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5354" y="45526"/>
                  </a:moveTo>
                  <a:cubicBezTo>
                    <a:pt x="75354" y="40263"/>
                    <a:pt x="72722" y="34122"/>
                    <a:pt x="70090" y="30613"/>
                  </a:cubicBezTo>
                  <a:cubicBezTo>
                    <a:pt x="67458" y="27103"/>
                    <a:pt x="63072" y="22717"/>
                    <a:pt x="54299" y="22717"/>
                  </a:cubicBezTo>
                  <a:cubicBezTo>
                    <a:pt x="46404" y="22717"/>
                    <a:pt x="41140" y="27103"/>
                    <a:pt x="37631" y="32367"/>
                  </a:cubicBezTo>
                  <a:cubicBezTo>
                    <a:pt x="32367" y="40263"/>
                    <a:pt x="32367" y="53422"/>
                    <a:pt x="32367" y="59563"/>
                  </a:cubicBezTo>
                  <a:cubicBezTo>
                    <a:pt x="32367" y="69213"/>
                    <a:pt x="34122" y="80618"/>
                    <a:pt x="37631" y="86758"/>
                  </a:cubicBezTo>
                  <a:cubicBezTo>
                    <a:pt x="40263" y="91145"/>
                    <a:pt x="45526" y="96409"/>
                    <a:pt x="54299" y="96409"/>
                  </a:cubicBezTo>
                  <a:cubicBezTo>
                    <a:pt x="60440" y="96409"/>
                    <a:pt x="65704" y="93777"/>
                    <a:pt x="69213" y="88513"/>
                  </a:cubicBezTo>
                  <a:cubicBezTo>
                    <a:pt x="71845" y="84127"/>
                    <a:pt x="74477" y="77986"/>
                    <a:pt x="74477" y="72722"/>
                  </a:cubicBezTo>
                  <a:lnTo>
                    <a:pt x="95531" y="75354"/>
                  </a:lnTo>
                  <a:cubicBezTo>
                    <a:pt x="94654" y="85004"/>
                    <a:pt x="90268" y="95531"/>
                    <a:pt x="82372" y="102550"/>
                  </a:cubicBezTo>
                  <a:cubicBezTo>
                    <a:pt x="76231" y="107813"/>
                    <a:pt x="66581" y="113077"/>
                    <a:pt x="52545" y="113077"/>
                  </a:cubicBezTo>
                  <a:cubicBezTo>
                    <a:pt x="37631" y="113077"/>
                    <a:pt x="27103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6226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5354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3A08678-367B-4C38-BAFA-BD2823945E84}"/>
                </a:ext>
              </a:extLst>
            </p:cNvPr>
            <p:cNvSpPr/>
            <p:nvPr/>
          </p:nvSpPr>
          <p:spPr>
            <a:xfrm>
              <a:off x="6810571" y="803797"/>
              <a:ext cx="96501" cy="114046"/>
            </a:xfrm>
            <a:custGeom>
              <a:avLst/>
              <a:gdLst>
                <a:gd name="connsiteX0" fmla="*/ 76231 w 96500"/>
                <a:gd name="connsiteY0" fmla="*/ 45526 h 114046"/>
                <a:gd name="connsiteX1" fmla="*/ 70968 w 96500"/>
                <a:gd name="connsiteY1" fmla="*/ 30613 h 114046"/>
                <a:gd name="connsiteX2" fmla="*/ 55176 w 96500"/>
                <a:gd name="connsiteY2" fmla="*/ 22717 h 114046"/>
                <a:gd name="connsiteX3" fmla="*/ 38508 w 96500"/>
                <a:gd name="connsiteY3" fmla="*/ 32367 h 114046"/>
                <a:gd name="connsiteX4" fmla="*/ 33244 w 96500"/>
                <a:gd name="connsiteY4" fmla="*/ 59563 h 114046"/>
                <a:gd name="connsiteX5" fmla="*/ 38508 w 96500"/>
                <a:gd name="connsiteY5" fmla="*/ 86758 h 114046"/>
                <a:gd name="connsiteX6" fmla="*/ 55176 w 96500"/>
                <a:gd name="connsiteY6" fmla="*/ 96409 h 114046"/>
                <a:gd name="connsiteX7" fmla="*/ 70090 w 96500"/>
                <a:gd name="connsiteY7" fmla="*/ 88513 h 114046"/>
                <a:gd name="connsiteX8" fmla="*/ 75354 w 96500"/>
                <a:gd name="connsiteY8" fmla="*/ 72722 h 114046"/>
                <a:gd name="connsiteX9" fmla="*/ 96409 w 96500"/>
                <a:gd name="connsiteY9" fmla="*/ 75354 h 114046"/>
                <a:gd name="connsiteX10" fmla="*/ 83249 w 96500"/>
                <a:gd name="connsiteY10" fmla="*/ 102550 h 114046"/>
                <a:gd name="connsiteX11" fmla="*/ 53422 w 96500"/>
                <a:gd name="connsiteY11" fmla="*/ 113077 h 114046"/>
                <a:gd name="connsiteX12" fmla="*/ 21840 w 96500"/>
                <a:gd name="connsiteY12" fmla="*/ 101672 h 114046"/>
                <a:gd name="connsiteX13" fmla="*/ 6049 w 96500"/>
                <a:gd name="connsiteY13" fmla="*/ 59563 h 114046"/>
                <a:gd name="connsiteX14" fmla="*/ 18331 w 96500"/>
                <a:gd name="connsiteY14" fmla="*/ 21840 h 114046"/>
                <a:gd name="connsiteX15" fmla="*/ 53422 w 96500"/>
                <a:gd name="connsiteY15" fmla="*/ 6049 h 114046"/>
                <a:gd name="connsiteX16" fmla="*/ 83249 w 96500"/>
                <a:gd name="connsiteY16" fmla="*/ 17453 h 114046"/>
                <a:gd name="connsiteX17" fmla="*/ 95531 w 96500"/>
                <a:gd name="connsiteY17" fmla="*/ 42894 h 114046"/>
                <a:gd name="connsiteX18" fmla="*/ 76231 w 96500"/>
                <a:gd name="connsiteY18" fmla="*/ 455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96500" h="114046">
                  <a:moveTo>
                    <a:pt x="76231" y="45526"/>
                  </a:moveTo>
                  <a:cubicBezTo>
                    <a:pt x="76231" y="40263"/>
                    <a:pt x="73599" y="34122"/>
                    <a:pt x="70968" y="30613"/>
                  </a:cubicBezTo>
                  <a:cubicBezTo>
                    <a:pt x="68336" y="27103"/>
                    <a:pt x="63949" y="22717"/>
                    <a:pt x="55176" y="22717"/>
                  </a:cubicBezTo>
                  <a:cubicBezTo>
                    <a:pt x="47281" y="22717"/>
                    <a:pt x="42017" y="27103"/>
                    <a:pt x="38508" y="32367"/>
                  </a:cubicBezTo>
                  <a:cubicBezTo>
                    <a:pt x="33244" y="40263"/>
                    <a:pt x="33244" y="53422"/>
                    <a:pt x="33244" y="59563"/>
                  </a:cubicBezTo>
                  <a:cubicBezTo>
                    <a:pt x="33244" y="69213"/>
                    <a:pt x="34999" y="80618"/>
                    <a:pt x="38508" y="86758"/>
                  </a:cubicBezTo>
                  <a:cubicBezTo>
                    <a:pt x="41140" y="91145"/>
                    <a:pt x="46404" y="96409"/>
                    <a:pt x="55176" y="96409"/>
                  </a:cubicBezTo>
                  <a:cubicBezTo>
                    <a:pt x="61317" y="96409"/>
                    <a:pt x="66581" y="93777"/>
                    <a:pt x="70090" y="88513"/>
                  </a:cubicBezTo>
                  <a:cubicBezTo>
                    <a:pt x="72722" y="84127"/>
                    <a:pt x="75354" y="77986"/>
                    <a:pt x="75354" y="72722"/>
                  </a:cubicBezTo>
                  <a:lnTo>
                    <a:pt x="96409" y="75354"/>
                  </a:lnTo>
                  <a:cubicBezTo>
                    <a:pt x="95531" y="85004"/>
                    <a:pt x="91145" y="95531"/>
                    <a:pt x="83249" y="102550"/>
                  </a:cubicBezTo>
                  <a:cubicBezTo>
                    <a:pt x="77108" y="107813"/>
                    <a:pt x="67458" y="113077"/>
                    <a:pt x="53422" y="113077"/>
                  </a:cubicBezTo>
                  <a:cubicBezTo>
                    <a:pt x="37631" y="113077"/>
                    <a:pt x="27981" y="106936"/>
                    <a:pt x="21840" y="101672"/>
                  </a:cubicBezTo>
                  <a:cubicBezTo>
                    <a:pt x="13944" y="93777"/>
                    <a:pt x="6049" y="80618"/>
                    <a:pt x="6049" y="59563"/>
                  </a:cubicBezTo>
                  <a:cubicBezTo>
                    <a:pt x="6049" y="40263"/>
                    <a:pt x="13067" y="27981"/>
                    <a:pt x="18331" y="21840"/>
                  </a:cubicBezTo>
                  <a:cubicBezTo>
                    <a:pt x="25349" y="13067"/>
                    <a:pt x="38508" y="6049"/>
                    <a:pt x="53422" y="6049"/>
                  </a:cubicBezTo>
                  <a:cubicBezTo>
                    <a:pt x="66581" y="6049"/>
                    <a:pt x="77108" y="10435"/>
                    <a:pt x="83249" y="17453"/>
                  </a:cubicBezTo>
                  <a:cubicBezTo>
                    <a:pt x="90268" y="24472"/>
                    <a:pt x="93777" y="34122"/>
                    <a:pt x="95531" y="42894"/>
                  </a:cubicBezTo>
                  <a:lnTo>
                    <a:pt x="76231" y="455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78DEC28A-647E-4516-83F8-9BE141E2A1C3}"/>
                </a:ext>
              </a:extLst>
            </p:cNvPr>
            <p:cNvSpPr/>
            <p:nvPr/>
          </p:nvSpPr>
          <p:spPr>
            <a:xfrm>
              <a:off x="6913212" y="802920"/>
              <a:ext cx="105274" cy="114046"/>
            </a:xfrm>
            <a:custGeom>
              <a:avLst/>
              <a:gdLst>
                <a:gd name="connsiteX0" fmla="*/ 79740 w 105273"/>
                <a:gd name="connsiteY0" fmla="*/ 49035 h 114046"/>
                <a:gd name="connsiteX1" fmla="*/ 75354 w 105273"/>
                <a:gd name="connsiteY1" fmla="*/ 32367 h 114046"/>
                <a:gd name="connsiteX2" fmla="*/ 56931 w 105273"/>
                <a:gd name="connsiteY2" fmla="*/ 22717 h 114046"/>
                <a:gd name="connsiteX3" fmla="*/ 38508 w 105273"/>
                <a:gd name="connsiteY3" fmla="*/ 31490 h 114046"/>
                <a:gd name="connsiteX4" fmla="*/ 32367 w 105273"/>
                <a:gd name="connsiteY4" fmla="*/ 49035 h 114046"/>
                <a:gd name="connsiteX5" fmla="*/ 79740 w 105273"/>
                <a:gd name="connsiteY5" fmla="*/ 49035 h 114046"/>
                <a:gd name="connsiteX6" fmla="*/ 103427 w 105273"/>
                <a:gd name="connsiteY6" fmla="*/ 81495 h 114046"/>
                <a:gd name="connsiteX7" fmla="*/ 86759 w 105273"/>
                <a:gd name="connsiteY7" fmla="*/ 105181 h 114046"/>
                <a:gd name="connsiteX8" fmla="*/ 56931 w 105273"/>
                <a:gd name="connsiteY8" fmla="*/ 113954 h 114046"/>
                <a:gd name="connsiteX9" fmla="*/ 20085 w 105273"/>
                <a:gd name="connsiteY9" fmla="*/ 99040 h 114046"/>
                <a:gd name="connsiteX10" fmla="*/ 6049 w 105273"/>
                <a:gd name="connsiteY10" fmla="*/ 60440 h 114046"/>
                <a:gd name="connsiteX11" fmla="*/ 24472 w 105273"/>
                <a:gd name="connsiteY11" fmla="*/ 17453 h 114046"/>
                <a:gd name="connsiteX12" fmla="*/ 56054 w 105273"/>
                <a:gd name="connsiteY12" fmla="*/ 6049 h 114046"/>
                <a:gd name="connsiteX13" fmla="*/ 94654 w 105273"/>
                <a:gd name="connsiteY13" fmla="*/ 24472 h 114046"/>
                <a:gd name="connsiteX14" fmla="*/ 105182 w 105273"/>
                <a:gd name="connsiteY14" fmla="*/ 59563 h 114046"/>
                <a:gd name="connsiteX15" fmla="*/ 105182 w 105273"/>
                <a:gd name="connsiteY15" fmla="*/ 63949 h 114046"/>
                <a:gd name="connsiteX16" fmla="*/ 32367 w 105273"/>
                <a:gd name="connsiteY16" fmla="*/ 63949 h 114046"/>
                <a:gd name="connsiteX17" fmla="*/ 35876 w 105273"/>
                <a:gd name="connsiteY17" fmla="*/ 82372 h 114046"/>
                <a:gd name="connsiteX18" fmla="*/ 57808 w 105273"/>
                <a:gd name="connsiteY18" fmla="*/ 96409 h 114046"/>
                <a:gd name="connsiteX19" fmla="*/ 76231 w 105273"/>
                <a:gd name="connsiteY19" fmla="*/ 88513 h 114046"/>
                <a:gd name="connsiteX20" fmla="*/ 81495 w 105273"/>
                <a:gd name="connsiteY20" fmla="*/ 77986 h 114046"/>
                <a:gd name="connsiteX21" fmla="*/ 103427 w 105273"/>
                <a:gd name="connsiteY21" fmla="*/ 81495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</a:cxnLst>
              <a:rect l="l" t="t" r="r" b="b"/>
              <a:pathLst>
                <a:path w="105273" h="114046">
                  <a:moveTo>
                    <a:pt x="79740" y="49035"/>
                  </a:moveTo>
                  <a:cubicBezTo>
                    <a:pt x="79740" y="42894"/>
                    <a:pt x="77986" y="36753"/>
                    <a:pt x="75354" y="32367"/>
                  </a:cubicBezTo>
                  <a:cubicBezTo>
                    <a:pt x="71845" y="27103"/>
                    <a:pt x="64827" y="22717"/>
                    <a:pt x="56931" y="22717"/>
                  </a:cubicBezTo>
                  <a:cubicBezTo>
                    <a:pt x="49035" y="22717"/>
                    <a:pt x="42894" y="26226"/>
                    <a:pt x="38508" y="31490"/>
                  </a:cubicBezTo>
                  <a:cubicBezTo>
                    <a:pt x="34999" y="35876"/>
                    <a:pt x="32367" y="42017"/>
                    <a:pt x="32367" y="49035"/>
                  </a:cubicBezTo>
                  <a:lnTo>
                    <a:pt x="79740" y="49035"/>
                  </a:lnTo>
                  <a:close/>
                  <a:moveTo>
                    <a:pt x="103427" y="81495"/>
                  </a:moveTo>
                  <a:cubicBezTo>
                    <a:pt x="99918" y="93777"/>
                    <a:pt x="92900" y="100795"/>
                    <a:pt x="86759" y="105181"/>
                  </a:cubicBezTo>
                  <a:cubicBezTo>
                    <a:pt x="78863" y="110445"/>
                    <a:pt x="68336" y="113954"/>
                    <a:pt x="56931" y="113954"/>
                  </a:cubicBezTo>
                  <a:cubicBezTo>
                    <a:pt x="42894" y="113954"/>
                    <a:pt x="28858" y="107813"/>
                    <a:pt x="20085" y="99040"/>
                  </a:cubicBezTo>
                  <a:cubicBezTo>
                    <a:pt x="12190" y="91145"/>
                    <a:pt x="6049" y="77108"/>
                    <a:pt x="6049" y="60440"/>
                  </a:cubicBezTo>
                  <a:cubicBezTo>
                    <a:pt x="6049" y="39385"/>
                    <a:pt x="14822" y="25349"/>
                    <a:pt x="24472" y="17453"/>
                  </a:cubicBezTo>
                  <a:cubicBezTo>
                    <a:pt x="29735" y="13067"/>
                    <a:pt x="40263" y="6049"/>
                    <a:pt x="56054" y="6049"/>
                  </a:cubicBezTo>
                  <a:cubicBezTo>
                    <a:pt x="75354" y="6049"/>
                    <a:pt x="88513" y="14821"/>
                    <a:pt x="94654" y="24472"/>
                  </a:cubicBezTo>
                  <a:cubicBezTo>
                    <a:pt x="101672" y="34122"/>
                    <a:pt x="105182" y="48158"/>
                    <a:pt x="105182" y="59563"/>
                  </a:cubicBezTo>
                  <a:lnTo>
                    <a:pt x="105182" y="63949"/>
                  </a:lnTo>
                  <a:lnTo>
                    <a:pt x="32367" y="63949"/>
                  </a:lnTo>
                  <a:cubicBezTo>
                    <a:pt x="32367" y="64826"/>
                    <a:pt x="32367" y="74477"/>
                    <a:pt x="35876" y="82372"/>
                  </a:cubicBezTo>
                  <a:cubicBezTo>
                    <a:pt x="41140" y="93777"/>
                    <a:pt x="51667" y="96409"/>
                    <a:pt x="57808" y="96409"/>
                  </a:cubicBezTo>
                  <a:cubicBezTo>
                    <a:pt x="63072" y="96409"/>
                    <a:pt x="70090" y="94654"/>
                    <a:pt x="76231" y="88513"/>
                  </a:cubicBezTo>
                  <a:cubicBezTo>
                    <a:pt x="79740" y="85004"/>
                    <a:pt x="81495" y="81495"/>
                    <a:pt x="81495" y="77986"/>
                  </a:cubicBezTo>
                  <a:lnTo>
                    <a:pt x="103427" y="81495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78C63B61-69E2-42B3-A61C-F396176B4641}"/>
                </a:ext>
              </a:extLst>
            </p:cNvPr>
            <p:cNvSpPr/>
            <p:nvPr/>
          </p:nvSpPr>
          <p:spPr>
            <a:xfrm>
              <a:off x="7020241" y="804675"/>
              <a:ext cx="96501" cy="114046"/>
            </a:xfrm>
            <a:custGeom>
              <a:avLst/>
              <a:gdLst>
                <a:gd name="connsiteX0" fmla="*/ 98163 w 96500"/>
                <a:gd name="connsiteY0" fmla="*/ 6049 h 114046"/>
                <a:gd name="connsiteX1" fmla="*/ 98163 w 96500"/>
                <a:gd name="connsiteY1" fmla="*/ 109568 h 114046"/>
                <a:gd name="connsiteX2" fmla="*/ 74477 w 96500"/>
                <a:gd name="connsiteY2" fmla="*/ 109568 h 114046"/>
                <a:gd name="connsiteX3" fmla="*/ 74477 w 96500"/>
                <a:gd name="connsiteY3" fmla="*/ 23594 h 114046"/>
                <a:gd name="connsiteX4" fmla="*/ 48158 w 96500"/>
                <a:gd name="connsiteY4" fmla="*/ 23594 h 114046"/>
                <a:gd name="connsiteX5" fmla="*/ 46404 w 96500"/>
                <a:gd name="connsiteY5" fmla="*/ 52545 h 114046"/>
                <a:gd name="connsiteX6" fmla="*/ 35876 w 96500"/>
                <a:gd name="connsiteY6" fmla="*/ 98163 h 114046"/>
                <a:gd name="connsiteX7" fmla="*/ 20085 w 96500"/>
                <a:gd name="connsiteY7" fmla="*/ 108690 h 114046"/>
                <a:gd name="connsiteX8" fmla="*/ 12190 w 96500"/>
                <a:gd name="connsiteY8" fmla="*/ 109568 h 114046"/>
                <a:gd name="connsiteX9" fmla="*/ 6049 w 96500"/>
                <a:gd name="connsiteY9" fmla="*/ 108690 h 114046"/>
                <a:gd name="connsiteX10" fmla="*/ 6049 w 96500"/>
                <a:gd name="connsiteY10" fmla="*/ 91145 h 114046"/>
                <a:gd name="connsiteX11" fmla="*/ 7803 w 96500"/>
                <a:gd name="connsiteY11" fmla="*/ 91145 h 114046"/>
                <a:gd name="connsiteX12" fmla="*/ 17453 w 96500"/>
                <a:gd name="connsiteY12" fmla="*/ 87636 h 114046"/>
                <a:gd name="connsiteX13" fmla="*/ 27103 w 96500"/>
                <a:gd name="connsiteY13" fmla="*/ 55176 h 114046"/>
                <a:gd name="connsiteX14" fmla="*/ 28858 w 96500"/>
                <a:gd name="connsiteY14" fmla="*/ 17453 h 114046"/>
                <a:gd name="connsiteX15" fmla="*/ 28858 w 96500"/>
                <a:gd name="connsiteY15" fmla="*/ 6926 h 114046"/>
                <a:gd name="connsiteX16" fmla="*/ 98163 w 96500"/>
                <a:gd name="connsiteY16" fmla="*/ 692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96500" h="114046">
                  <a:moveTo>
                    <a:pt x="98163" y="6049"/>
                  </a:moveTo>
                  <a:lnTo>
                    <a:pt x="98163" y="109568"/>
                  </a:lnTo>
                  <a:lnTo>
                    <a:pt x="74477" y="109568"/>
                  </a:lnTo>
                  <a:lnTo>
                    <a:pt x="74477" y="23594"/>
                  </a:lnTo>
                  <a:lnTo>
                    <a:pt x="48158" y="23594"/>
                  </a:lnTo>
                  <a:cubicBezTo>
                    <a:pt x="47281" y="37631"/>
                    <a:pt x="47281" y="42894"/>
                    <a:pt x="46404" y="52545"/>
                  </a:cubicBezTo>
                  <a:cubicBezTo>
                    <a:pt x="45526" y="63072"/>
                    <a:pt x="44649" y="85881"/>
                    <a:pt x="35876" y="98163"/>
                  </a:cubicBezTo>
                  <a:cubicBezTo>
                    <a:pt x="30613" y="105181"/>
                    <a:pt x="24472" y="107813"/>
                    <a:pt x="20085" y="108690"/>
                  </a:cubicBezTo>
                  <a:cubicBezTo>
                    <a:pt x="17453" y="109568"/>
                    <a:pt x="14822" y="109568"/>
                    <a:pt x="12190" y="109568"/>
                  </a:cubicBezTo>
                  <a:cubicBezTo>
                    <a:pt x="10435" y="109568"/>
                    <a:pt x="7803" y="109568"/>
                    <a:pt x="6049" y="108690"/>
                  </a:cubicBezTo>
                  <a:lnTo>
                    <a:pt x="6049" y="91145"/>
                  </a:lnTo>
                  <a:lnTo>
                    <a:pt x="7803" y="91145"/>
                  </a:lnTo>
                  <a:cubicBezTo>
                    <a:pt x="10435" y="91145"/>
                    <a:pt x="14822" y="89390"/>
                    <a:pt x="17453" y="87636"/>
                  </a:cubicBezTo>
                  <a:cubicBezTo>
                    <a:pt x="25349" y="81495"/>
                    <a:pt x="26226" y="66581"/>
                    <a:pt x="27103" y="55176"/>
                  </a:cubicBezTo>
                  <a:cubicBezTo>
                    <a:pt x="27981" y="40263"/>
                    <a:pt x="27981" y="30613"/>
                    <a:pt x="28858" y="17453"/>
                  </a:cubicBezTo>
                  <a:lnTo>
                    <a:pt x="28858" y="6926"/>
                  </a:lnTo>
                  <a:lnTo>
                    <a:pt x="98163" y="692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6B4C8E86-1556-4139-A0BD-C35F411D2B76}"/>
                </a:ext>
              </a:extLst>
            </p:cNvPr>
            <p:cNvSpPr/>
            <p:nvPr/>
          </p:nvSpPr>
          <p:spPr>
            <a:xfrm>
              <a:off x="7137796" y="804675"/>
              <a:ext cx="96501" cy="114046"/>
            </a:xfrm>
            <a:custGeom>
              <a:avLst/>
              <a:gdLst>
                <a:gd name="connsiteX0" fmla="*/ 28858 w 96500"/>
                <a:gd name="connsiteY0" fmla="*/ 92899 h 114046"/>
                <a:gd name="connsiteX1" fmla="*/ 47281 w 96500"/>
                <a:gd name="connsiteY1" fmla="*/ 92899 h 114046"/>
                <a:gd name="connsiteX2" fmla="*/ 60440 w 96500"/>
                <a:gd name="connsiteY2" fmla="*/ 89390 h 114046"/>
                <a:gd name="connsiteX3" fmla="*/ 65704 w 96500"/>
                <a:gd name="connsiteY3" fmla="*/ 77108 h 114046"/>
                <a:gd name="connsiteX4" fmla="*/ 59563 w 96500"/>
                <a:gd name="connsiteY4" fmla="*/ 63949 h 114046"/>
                <a:gd name="connsiteX5" fmla="*/ 47281 w 96500"/>
                <a:gd name="connsiteY5" fmla="*/ 61317 h 114046"/>
                <a:gd name="connsiteX6" fmla="*/ 28858 w 96500"/>
                <a:gd name="connsiteY6" fmla="*/ 61317 h 114046"/>
                <a:gd name="connsiteX7" fmla="*/ 28858 w 96500"/>
                <a:gd name="connsiteY7" fmla="*/ 92899 h 114046"/>
                <a:gd name="connsiteX8" fmla="*/ 28858 w 96500"/>
                <a:gd name="connsiteY8" fmla="*/ 42894 h 114046"/>
                <a:gd name="connsiteX9" fmla="*/ 55177 w 96500"/>
                <a:gd name="connsiteY9" fmla="*/ 42894 h 114046"/>
                <a:gd name="connsiteX10" fmla="*/ 83249 w 96500"/>
                <a:gd name="connsiteY10" fmla="*/ 52545 h 114046"/>
                <a:gd name="connsiteX11" fmla="*/ 92022 w 96500"/>
                <a:gd name="connsiteY11" fmla="*/ 76231 h 114046"/>
                <a:gd name="connsiteX12" fmla="*/ 81495 w 96500"/>
                <a:gd name="connsiteY12" fmla="*/ 102550 h 114046"/>
                <a:gd name="connsiteX13" fmla="*/ 57808 w 96500"/>
                <a:gd name="connsiteY13" fmla="*/ 109568 h 114046"/>
                <a:gd name="connsiteX14" fmla="*/ 6049 w 96500"/>
                <a:gd name="connsiteY14" fmla="*/ 109568 h 114046"/>
                <a:gd name="connsiteX15" fmla="*/ 6049 w 96500"/>
                <a:gd name="connsiteY15" fmla="*/ 6049 h 114046"/>
                <a:gd name="connsiteX16" fmla="*/ 29735 w 96500"/>
                <a:gd name="connsiteY16" fmla="*/ 6049 h 114046"/>
                <a:gd name="connsiteX17" fmla="*/ 29735 w 96500"/>
                <a:gd name="connsiteY17" fmla="*/ 42894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96500" h="114046">
                  <a:moveTo>
                    <a:pt x="28858" y="92899"/>
                  </a:moveTo>
                  <a:lnTo>
                    <a:pt x="47281" y="92899"/>
                  </a:lnTo>
                  <a:cubicBezTo>
                    <a:pt x="51667" y="92899"/>
                    <a:pt x="56931" y="92899"/>
                    <a:pt x="60440" y="89390"/>
                  </a:cubicBezTo>
                  <a:cubicBezTo>
                    <a:pt x="63072" y="86758"/>
                    <a:pt x="65704" y="83249"/>
                    <a:pt x="65704" y="77108"/>
                  </a:cubicBezTo>
                  <a:cubicBezTo>
                    <a:pt x="65704" y="71845"/>
                    <a:pt x="63949" y="66581"/>
                    <a:pt x="59563" y="63949"/>
                  </a:cubicBezTo>
                  <a:cubicBezTo>
                    <a:pt x="55177" y="61317"/>
                    <a:pt x="50790" y="61317"/>
                    <a:pt x="47281" y="61317"/>
                  </a:cubicBezTo>
                  <a:lnTo>
                    <a:pt x="28858" y="61317"/>
                  </a:lnTo>
                  <a:lnTo>
                    <a:pt x="28858" y="92899"/>
                  </a:lnTo>
                  <a:close/>
                  <a:moveTo>
                    <a:pt x="28858" y="42894"/>
                  </a:moveTo>
                  <a:lnTo>
                    <a:pt x="55177" y="42894"/>
                  </a:lnTo>
                  <a:cubicBezTo>
                    <a:pt x="62195" y="42894"/>
                    <a:pt x="74477" y="43772"/>
                    <a:pt x="83249" y="52545"/>
                  </a:cubicBezTo>
                  <a:cubicBezTo>
                    <a:pt x="91145" y="60440"/>
                    <a:pt x="92022" y="70967"/>
                    <a:pt x="92022" y="76231"/>
                  </a:cubicBezTo>
                  <a:cubicBezTo>
                    <a:pt x="92022" y="91145"/>
                    <a:pt x="85881" y="98163"/>
                    <a:pt x="81495" y="102550"/>
                  </a:cubicBezTo>
                  <a:cubicBezTo>
                    <a:pt x="79740" y="103427"/>
                    <a:pt x="71845" y="109568"/>
                    <a:pt x="57808" y="109568"/>
                  </a:cubicBezTo>
                  <a:lnTo>
                    <a:pt x="6049" y="109568"/>
                  </a:lnTo>
                  <a:lnTo>
                    <a:pt x="6049" y="6049"/>
                  </a:lnTo>
                  <a:lnTo>
                    <a:pt x="29735" y="6049"/>
                  </a:lnTo>
                  <a:lnTo>
                    <a:pt x="29735" y="42894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12FD1060-11AF-4BE0-AC63-EAF9D7C92A4F}"/>
                </a:ext>
              </a:extLst>
            </p:cNvPr>
            <p:cNvSpPr/>
            <p:nvPr/>
          </p:nvSpPr>
          <p:spPr>
            <a:xfrm>
              <a:off x="7225525" y="804675"/>
              <a:ext cx="105274" cy="114046"/>
            </a:xfrm>
            <a:custGeom>
              <a:avLst/>
              <a:gdLst>
                <a:gd name="connsiteX0" fmla="*/ 37631 w 105273"/>
                <a:gd name="connsiteY0" fmla="*/ 6049 h 114046"/>
                <a:gd name="connsiteX1" fmla="*/ 56054 w 105273"/>
                <a:gd name="connsiteY1" fmla="*/ 38508 h 114046"/>
                <a:gd name="connsiteX2" fmla="*/ 76231 w 105273"/>
                <a:gd name="connsiteY2" fmla="*/ 6049 h 114046"/>
                <a:gd name="connsiteX3" fmla="*/ 97286 w 105273"/>
                <a:gd name="connsiteY3" fmla="*/ 6049 h 114046"/>
                <a:gd name="connsiteX4" fmla="*/ 67458 w 105273"/>
                <a:gd name="connsiteY4" fmla="*/ 53422 h 114046"/>
                <a:gd name="connsiteX5" fmla="*/ 103427 w 105273"/>
                <a:gd name="connsiteY5" fmla="*/ 109568 h 114046"/>
                <a:gd name="connsiteX6" fmla="*/ 75354 w 105273"/>
                <a:gd name="connsiteY6" fmla="*/ 109568 h 114046"/>
                <a:gd name="connsiteX7" fmla="*/ 52545 w 105273"/>
                <a:gd name="connsiteY7" fmla="*/ 70967 h 114046"/>
                <a:gd name="connsiteX8" fmla="*/ 27981 w 105273"/>
                <a:gd name="connsiteY8" fmla="*/ 109568 h 114046"/>
                <a:gd name="connsiteX9" fmla="*/ 6049 w 105273"/>
                <a:gd name="connsiteY9" fmla="*/ 109568 h 114046"/>
                <a:gd name="connsiteX10" fmla="*/ 41140 w 105273"/>
                <a:gd name="connsiteY10" fmla="*/ 56054 h 114046"/>
                <a:gd name="connsiteX11" fmla="*/ 9558 w 105273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5273" h="114046">
                  <a:moveTo>
                    <a:pt x="37631" y="6049"/>
                  </a:moveTo>
                  <a:lnTo>
                    <a:pt x="56054" y="38508"/>
                  </a:lnTo>
                  <a:lnTo>
                    <a:pt x="76231" y="6049"/>
                  </a:lnTo>
                  <a:lnTo>
                    <a:pt x="97286" y="6049"/>
                  </a:lnTo>
                  <a:lnTo>
                    <a:pt x="67458" y="53422"/>
                  </a:lnTo>
                  <a:lnTo>
                    <a:pt x="103427" y="109568"/>
                  </a:lnTo>
                  <a:lnTo>
                    <a:pt x="75354" y="109568"/>
                  </a:lnTo>
                  <a:lnTo>
                    <a:pt x="52545" y="70967"/>
                  </a:lnTo>
                  <a:lnTo>
                    <a:pt x="27981" y="109568"/>
                  </a:lnTo>
                  <a:lnTo>
                    <a:pt x="6049" y="109568"/>
                  </a:lnTo>
                  <a:lnTo>
                    <a:pt x="41140" y="56054"/>
                  </a:lnTo>
                  <a:lnTo>
                    <a:pt x="9558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D81E281D-49F2-41E5-B388-35FE51FDFD8C}"/>
                </a:ext>
              </a:extLst>
            </p:cNvPr>
            <p:cNvSpPr/>
            <p:nvPr/>
          </p:nvSpPr>
          <p:spPr>
            <a:xfrm>
              <a:off x="7324657" y="802920"/>
              <a:ext cx="105274" cy="114046"/>
            </a:xfrm>
            <a:custGeom>
              <a:avLst/>
              <a:gdLst>
                <a:gd name="connsiteX0" fmla="*/ 39385 w 105273"/>
                <a:gd name="connsiteY0" fmla="*/ 88513 h 114046"/>
                <a:gd name="connsiteX1" fmla="*/ 55177 w 105273"/>
                <a:gd name="connsiteY1" fmla="*/ 96409 h 114046"/>
                <a:gd name="connsiteX2" fmla="*/ 70968 w 105273"/>
                <a:gd name="connsiteY2" fmla="*/ 88513 h 114046"/>
                <a:gd name="connsiteX3" fmla="*/ 78863 w 105273"/>
                <a:gd name="connsiteY3" fmla="*/ 59563 h 114046"/>
                <a:gd name="connsiteX4" fmla="*/ 70968 w 105273"/>
                <a:gd name="connsiteY4" fmla="*/ 30613 h 114046"/>
                <a:gd name="connsiteX5" fmla="*/ 55177 w 105273"/>
                <a:gd name="connsiteY5" fmla="*/ 22717 h 114046"/>
                <a:gd name="connsiteX6" fmla="*/ 39385 w 105273"/>
                <a:gd name="connsiteY6" fmla="*/ 30613 h 114046"/>
                <a:gd name="connsiteX7" fmla="*/ 31490 w 105273"/>
                <a:gd name="connsiteY7" fmla="*/ 59563 h 114046"/>
                <a:gd name="connsiteX8" fmla="*/ 39385 w 105273"/>
                <a:gd name="connsiteY8" fmla="*/ 88513 h 114046"/>
                <a:gd name="connsiteX9" fmla="*/ 21840 w 105273"/>
                <a:gd name="connsiteY9" fmla="*/ 18331 h 114046"/>
                <a:gd name="connsiteX10" fmla="*/ 55177 w 105273"/>
                <a:gd name="connsiteY10" fmla="*/ 6049 h 114046"/>
                <a:gd name="connsiteX11" fmla="*/ 88513 w 105273"/>
                <a:gd name="connsiteY11" fmla="*/ 18331 h 114046"/>
                <a:gd name="connsiteX12" fmla="*/ 104304 w 105273"/>
                <a:gd name="connsiteY12" fmla="*/ 59563 h 114046"/>
                <a:gd name="connsiteX13" fmla="*/ 88513 w 105273"/>
                <a:gd name="connsiteY13" fmla="*/ 100795 h 114046"/>
                <a:gd name="connsiteX14" fmla="*/ 55177 w 105273"/>
                <a:gd name="connsiteY14" fmla="*/ 113077 h 114046"/>
                <a:gd name="connsiteX15" fmla="*/ 21840 w 105273"/>
                <a:gd name="connsiteY15" fmla="*/ 100795 h 114046"/>
                <a:gd name="connsiteX16" fmla="*/ 6049 w 105273"/>
                <a:gd name="connsiteY16" fmla="*/ 59563 h 114046"/>
                <a:gd name="connsiteX17" fmla="*/ 21840 w 105273"/>
                <a:gd name="connsiteY17" fmla="*/ 18331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05273" h="114046">
                  <a:moveTo>
                    <a:pt x="39385" y="88513"/>
                  </a:moveTo>
                  <a:cubicBezTo>
                    <a:pt x="42017" y="91145"/>
                    <a:pt x="46404" y="96409"/>
                    <a:pt x="55177" y="96409"/>
                  </a:cubicBezTo>
                  <a:cubicBezTo>
                    <a:pt x="63949" y="96409"/>
                    <a:pt x="69213" y="91145"/>
                    <a:pt x="70968" y="88513"/>
                  </a:cubicBezTo>
                  <a:cubicBezTo>
                    <a:pt x="72722" y="86758"/>
                    <a:pt x="78863" y="78863"/>
                    <a:pt x="78863" y="59563"/>
                  </a:cubicBezTo>
                  <a:cubicBezTo>
                    <a:pt x="78863" y="40263"/>
                    <a:pt x="72722" y="32367"/>
                    <a:pt x="70968" y="30613"/>
                  </a:cubicBezTo>
                  <a:cubicBezTo>
                    <a:pt x="68336" y="27981"/>
                    <a:pt x="63949" y="22717"/>
                    <a:pt x="55177" y="22717"/>
                  </a:cubicBezTo>
                  <a:cubicBezTo>
                    <a:pt x="46404" y="22717"/>
                    <a:pt x="41140" y="27981"/>
                    <a:pt x="39385" y="30613"/>
                  </a:cubicBezTo>
                  <a:cubicBezTo>
                    <a:pt x="37631" y="32367"/>
                    <a:pt x="31490" y="40263"/>
                    <a:pt x="31490" y="59563"/>
                  </a:cubicBezTo>
                  <a:cubicBezTo>
                    <a:pt x="31490" y="78863"/>
                    <a:pt x="37631" y="86758"/>
                    <a:pt x="39385" y="88513"/>
                  </a:cubicBezTo>
                  <a:moveTo>
                    <a:pt x="21840" y="18331"/>
                  </a:moveTo>
                  <a:cubicBezTo>
                    <a:pt x="28858" y="11312"/>
                    <a:pt x="39385" y="6049"/>
                    <a:pt x="55177" y="6049"/>
                  </a:cubicBezTo>
                  <a:cubicBezTo>
                    <a:pt x="70968" y="6049"/>
                    <a:pt x="81495" y="12190"/>
                    <a:pt x="88513" y="18331"/>
                  </a:cubicBezTo>
                  <a:cubicBezTo>
                    <a:pt x="99041" y="27981"/>
                    <a:pt x="104304" y="43772"/>
                    <a:pt x="104304" y="59563"/>
                  </a:cubicBezTo>
                  <a:cubicBezTo>
                    <a:pt x="104304" y="75354"/>
                    <a:pt x="99041" y="90268"/>
                    <a:pt x="88513" y="100795"/>
                  </a:cubicBezTo>
                  <a:cubicBezTo>
                    <a:pt x="81495" y="107813"/>
                    <a:pt x="70968" y="113077"/>
                    <a:pt x="55177" y="113077"/>
                  </a:cubicBezTo>
                  <a:cubicBezTo>
                    <a:pt x="39385" y="113077"/>
                    <a:pt x="28858" y="106936"/>
                    <a:pt x="21840" y="100795"/>
                  </a:cubicBezTo>
                  <a:cubicBezTo>
                    <a:pt x="11312" y="91145"/>
                    <a:pt x="6049" y="75354"/>
                    <a:pt x="6049" y="59563"/>
                  </a:cubicBezTo>
                  <a:cubicBezTo>
                    <a:pt x="6049" y="43772"/>
                    <a:pt x="11312" y="28858"/>
                    <a:pt x="21840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80CCC29-1652-440C-8B9B-32248C259CB7}"/>
                </a:ext>
              </a:extLst>
            </p:cNvPr>
            <p:cNvSpPr/>
            <p:nvPr/>
          </p:nvSpPr>
          <p:spPr>
            <a:xfrm>
              <a:off x="7433440" y="802920"/>
              <a:ext cx="96501" cy="114046"/>
            </a:xfrm>
            <a:custGeom>
              <a:avLst/>
              <a:gdLst>
                <a:gd name="connsiteX0" fmla="*/ 8680 w 96500"/>
                <a:gd name="connsiteY0" fmla="*/ 35876 h 114046"/>
                <a:gd name="connsiteX1" fmla="*/ 25349 w 96500"/>
                <a:gd name="connsiteY1" fmla="*/ 13067 h 114046"/>
                <a:gd name="connsiteX2" fmla="*/ 54299 w 96500"/>
                <a:gd name="connsiteY2" fmla="*/ 6049 h 114046"/>
                <a:gd name="connsiteX3" fmla="*/ 82372 w 96500"/>
                <a:gd name="connsiteY3" fmla="*/ 12190 h 114046"/>
                <a:gd name="connsiteX4" fmla="*/ 96409 w 96500"/>
                <a:gd name="connsiteY4" fmla="*/ 34122 h 114046"/>
                <a:gd name="connsiteX5" fmla="*/ 75354 w 96500"/>
                <a:gd name="connsiteY5" fmla="*/ 56931 h 114046"/>
                <a:gd name="connsiteX6" fmla="*/ 75354 w 96500"/>
                <a:gd name="connsiteY6" fmla="*/ 56931 h 114046"/>
                <a:gd name="connsiteX7" fmla="*/ 92022 w 96500"/>
                <a:gd name="connsiteY7" fmla="*/ 64826 h 114046"/>
                <a:gd name="connsiteX8" fmla="*/ 98163 w 96500"/>
                <a:gd name="connsiteY8" fmla="*/ 82372 h 114046"/>
                <a:gd name="connsiteX9" fmla="*/ 84127 w 96500"/>
                <a:gd name="connsiteY9" fmla="*/ 106936 h 114046"/>
                <a:gd name="connsiteX10" fmla="*/ 52545 w 96500"/>
                <a:gd name="connsiteY10" fmla="*/ 113954 h 114046"/>
                <a:gd name="connsiteX11" fmla="*/ 18331 w 96500"/>
                <a:gd name="connsiteY11" fmla="*/ 105181 h 114046"/>
                <a:gd name="connsiteX12" fmla="*/ 6049 w 96500"/>
                <a:gd name="connsiteY12" fmla="*/ 83249 h 114046"/>
                <a:gd name="connsiteX13" fmla="*/ 27103 w 96500"/>
                <a:gd name="connsiteY13" fmla="*/ 79740 h 114046"/>
                <a:gd name="connsiteX14" fmla="*/ 32367 w 96500"/>
                <a:gd name="connsiteY14" fmla="*/ 90268 h 114046"/>
                <a:gd name="connsiteX15" fmla="*/ 50790 w 96500"/>
                <a:gd name="connsiteY15" fmla="*/ 97286 h 114046"/>
                <a:gd name="connsiteX16" fmla="*/ 66581 w 96500"/>
                <a:gd name="connsiteY16" fmla="*/ 93777 h 114046"/>
                <a:gd name="connsiteX17" fmla="*/ 72722 w 96500"/>
                <a:gd name="connsiteY17" fmla="*/ 82372 h 114046"/>
                <a:gd name="connsiteX18" fmla="*/ 68336 w 96500"/>
                <a:gd name="connsiteY18" fmla="*/ 71845 h 114046"/>
                <a:gd name="connsiteX19" fmla="*/ 51667 w 96500"/>
                <a:gd name="connsiteY19" fmla="*/ 67458 h 114046"/>
                <a:gd name="connsiteX20" fmla="*/ 41140 w 96500"/>
                <a:gd name="connsiteY20" fmla="*/ 67458 h 114046"/>
                <a:gd name="connsiteX21" fmla="*/ 41140 w 96500"/>
                <a:gd name="connsiteY21" fmla="*/ 51667 h 114046"/>
                <a:gd name="connsiteX22" fmla="*/ 51667 w 96500"/>
                <a:gd name="connsiteY22" fmla="*/ 51667 h 114046"/>
                <a:gd name="connsiteX23" fmla="*/ 64827 w 96500"/>
                <a:gd name="connsiteY23" fmla="*/ 49035 h 114046"/>
                <a:gd name="connsiteX24" fmla="*/ 71845 w 96500"/>
                <a:gd name="connsiteY24" fmla="*/ 37631 h 114046"/>
                <a:gd name="connsiteX25" fmla="*/ 67458 w 96500"/>
                <a:gd name="connsiteY25" fmla="*/ 28858 h 114046"/>
                <a:gd name="connsiteX26" fmla="*/ 52545 w 96500"/>
                <a:gd name="connsiteY26" fmla="*/ 24472 h 114046"/>
                <a:gd name="connsiteX27" fmla="*/ 34999 w 96500"/>
                <a:gd name="connsiteY27" fmla="*/ 29735 h 114046"/>
                <a:gd name="connsiteX28" fmla="*/ 27981 w 96500"/>
                <a:gd name="connsiteY28" fmla="*/ 42017 h 114046"/>
                <a:gd name="connsiteX29" fmla="*/ 8680 w 96500"/>
                <a:gd name="connsiteY29" fmla="*/ 35876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96500" h="114046">
                  <a:moveTo>
                    <a:pt x="8680" y="35876"/>
                  </a:moveTo>
                  <a:cubicBezTo>
                    <a:pt x="11312" y="23594"/>
                    <a:pt x="19208" y="16576"/>
                    <a:pt x="25349" y="13067"/>
                  </a:cubicBezTo>
                  <a:cubicBezTo>
                    <a:pt x="28858" y="10435"/>
                    <a:pt x="38508" y="6049"/>
                    <a:pt x="54299" y="6049"/>
                  </a:cubicBezTo>
                  <a:cubicBezTo>
                    <a:pt x="64827" y="6049"/>
                    <a:pt x="74477" y="7803"/>
                    <a:pt x="82372" y="12190"/>
                  </a:cubicBezTo>
                  <a:cubicBezTo>
                    <a:pt x="93777" y="18331"/>
                    <a:pt x="96409" y="27981"/>
                    <a:pt x="96409" y="34122"/>
                  </a:cubicBezTo>
                  <a:cubicBezTo>
                    <a:pt x="96409" y="41140"/>
                    <a:pt x="92900" y="54299"/>
                    <a:pt x="75354" y="56931"/>
                  </a:cubicBezTo>
                  <a:lnTo>
                    <a:pt x="75354" y="56931"/>
                  </a:lnTo>
                  <a:cubicBezTo>
                    <a:pt x="81495" y="57808"/>
                    <a:pt x="88513" y="60440"/>
                    <a:pt x="92022" y="64826"/>
                  </a:cubicBezTo>
                  <a:cubicBezTo>
                    <a:pt x="95531" y="68336"/>
                    <a:pt x="98163" y="75354"/>
                    <a:pt x="98163" y="82372"/>
                  </a:cubicBezTo>
                  <a:cubicBezTo>
                    <a:pt x="98163" y="92899"/>
                    <a:pt x="92022" y="101672"/>
                    <a:pt x="84127" y="106936"/>
                  </a:cubicBezTo>
                  <a:cubicBezTo>
                    <a:pt x="74477" y="113077"/>
                    <a:pt x="62195" y="113954"/>
                    <a:pt x="52545" y="113954"/>
                  </a:cubicBezTo>
                  <a:cubicBezTo>
                    <a:pt x="42894" y="113954"/>
                    <a:pt x="28858" y="113077"/>
                    <a:pt x="18331" y="105181"/>
                  </a:cubicBezTo>
                  <a:cubicBezTo>
                    <a:pt x="13067" y="100795"/>
                    <a:pt x="7803" y="92899"/>
                    <a:pt x="6049" y="83249"/>
                  </a:cubicBezTo>
                  <a:lnTo>
                    <a:pt x="27103" y="79740"/>
                  </a:lnTo>
                  <a:cubicBezTo>
                    <a:pt x="27981" y="83249"/>
                    <a:pt x="29735" y="87636"/>
                    <a:pt x="32367" y="90268"/>
                  </a:cubicBezTo>
                  <a:cubicBezTo>
                    <a:pt x="37631" y="96409"/>
                    <a:pt x="45526" y="97286"/>
                    <a:pt x="50790" y="97286"/>
                  </a:cubicBezTo>
                  <a:cubicBezTo>
                    <a:pt x="56054" y="97286"/>
                    <a:pt x="61317" y="96409"/>
                    <a:pt x="66581" y="93777"/>
                  </a:cubicBezTo>
                  <a:cubicBezTo>
                    <a:pt x="70967" y="91145"/>
                    <a:pt x="72722" y="86758"/>
                    <a:pt x="72722" y="82372"/>
                  </a:cubicBezTo>
                  <a:cubicBezTo>
                    <a:pt x="72722" y="77986"/>
                    <a:pt x="71845" y="74477"/>
                    <a:pt x="68336" y="71845"/>
                  </a:cubicBezTo>
                  <a:cubicBezTo>
                    <a:pt x="63949" y="68336"/>
                    <a:pt x="57808" y="67458"/>
                    <a:pt x="51667" y="67458"/>
                  </a:cubicBezTo>
                  <a:lnTo>
                    <a:pt x="41140" y="67458"/>
                  </a:lnTo>
                  <a:lnTo>
                    <a:pt x="41140" y="51667"/>
                  </a:lnTo>
                  <a:lnTo>
                    <a:pt x="51667" y="51667"/>
                  </a:lnTo>
                  <a:cubicBezTo>
                    <a:pt x="56054" y="51667"/>
                    <a:pt x="61317" y="50790"/>
                    <a:pt x="64827" y="49035"/>
                  </a:cubicBezTo>
                  <a:cubicBezTo>
                    <a:pt x="69213" y="46404"/>
                    <a:pt x="71845" y="42894"/>
                    <a:pt x="71845" y="37631"/>
                  </a:cubicBezTo>
                  <a:cubicBezTo>
                    <a:pt x="71845" y="34122"/>
                    <a:pt x="70967" y="31490"/>
                    <a:pt x="67458" y="28858"/>
                  </a:cubicBezTo>
                  <a:cubicBezTo>
                    <a:pt x="63072" y="25349"/>
                    <a:pt x="56054" y="24472"/>
                    <a:pt x="52545" y="24472"/>
                  </a:cubicBezTo>
                  <a:cubicBezTo>
                    <a:pt x="48158" y="24472"/>
                    <a:pt x="41140" y="25349"/>
                    <a:pt x="34999" y="29735"/>
                  </a:cubicBezTo>
                  <a:cubicBezTo>
                    <a:pt x="32367" y="31490"/>
                    <a:pt x="29735" y="35876"/>
                    <a:pt x="27981" y="42017"/>
                  </a:cubicBezTo>
                  <a:lnTo>
                    <a:pt x="8680" y="35876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F0582C5A-0A79-4B0D-886F-9C169642233F}"/>
                </a:ext>
              </a:extLst>
            </p:cNvPr>
            <p:cNvSpPr/>
            <p:nvPr/>
          </p:nvSpPr>
          <p:spPr>
            <a:xfrm>
              <a:off x="7546610" y="769583"/>
              <a:ext cx="122819" cy="149138"/>
            </a:xfrm>
            <a:custGeom>
              <a:avLst/>
              <a:gdLst>
                <a:gd name="connsiteX0" fmla="*/ 38508 w 122819"/>
                <a:gd name="connsiteY0" fmla="*/ 120095 h 149137"/>
                <a:gd name="connsiteX1" fmla="*/ 64827 w 122819"/>
                <a:gd name="connsiteY1" fmla="*/ 120095 h 149137"/>
                <a:gd name="connsiteX2" fmla="*/ 78863 w 122819"/>
                <a:gd name="connsiteY2" fmla="*/ 114831 h 149137"/>
                <a:gd name="connsiteX3" fmla="*/ 84127 w 122819"/>
                <a:gd name="connsiteY3" fmla="*/ 101672 h 149137"/>
                <a:gd name="connsiteX4" fmla="*/ 78863 w 122819"/>
                <a:gd name="connsiteY4" fmla="*/ 88513 h 149137"/>
                <a:gd name="connsiteX5" fmla="*/ 63949 w 122819"/>
                <a:gd name="connsiteY5" fmla="*/ 83249 h 149137"/>
                <a:gd name="connsiteX6" fmla="*/ 38508 w 122819"/>
                <a:gd name="connsiteY6" fmla="*/ 83249 h 149137"/>
                <a:gd name="connsiteX7" fmla="*/ 38508 w 122819"/>
                <a:gd name="connsiteY7" fmla="*/ 120095 h 149137"/>
                <a:gd name="connsiteX8" fmla="*/ 106059 w 122819"/>
                <a:gd name="connsiteY8" fmla="*/ 30613 h 149137"/>
                <a:gd name="connsiteX9" fmla="*/ 39385 w 122819"/>
                <a:gd name="connsiteY9" fmla="*/ 30613 h 149137"/>
                <a:gd name="connsiteX10" fmla="*/ 39385 w 122819"/>
                <a:gd name="connsiteY10" fmla="*/ 61317 h 149137"/>
                <a:gd name="connsiteX11" fmla="*/ 69213 w 122819"/>
                <a:gd name="connsiteY11" fmla="*/ 61317 h 149137"/>
                <a:gd name="connsiteX12" fmla="*/ 100795 w 122819"/>
                <a:gd name="connsiteY12" fmla="*/ 69213 h 149137"/>
                <a:gd name="connsiteX13" fmla="*/ 117463 w 122819"/>
                <a:gd name="connsiteY13" fmla="*/ 101672 h 149137"/>
                <a:gd name="connsiteX14" fmla="*/ 105182 w 122819"/>
                <a:gd name="connsiteY14" fmla="*/ 133254 h 149137"/>
                <a:gd name="connsiteX15" fmla="*/ 70967 w 122819"/>
                <a:gd name="connsiteY15" fmla="*/ 144659 h 149137"/>
                <a:gd name="connsiteX16" fmla="*/ 6049 w 122819"/>
                <a:gd name="connsiteY16" fmla="*/ 144659 h 149137"/>
                <a:gd name="connsiteX17" fmla="*/ 6049 w 122819"/>
                <a:gd name="connsiteY17" fmla="*/ 6049 h 149137"/>
                <a:gd name="connsiteX18" fmla="*/ 105182 w 122819"/>
                <a:gd name="connsiteY18" fmla="*/ 6049 h 149137"/>
                <a:gd name="connsiteX19" fmla="*/ 105182 w 122819"/>
                <a:gd name="connsiteY19" fmla="*/ 30613 h 149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2819" h="149137">
                  <a:moveTo>
                    <a:pt x="38508" y="120095"/>
                  </a:moveTo>
                  <a:lnTo>
                    <a:pt x="64827" y="120095"/>
                  </a:lnTo>
                  <a:cubicBezTo>
                    <a:pt x="70090" y="120095"/>
                    <a:pt x="74477" y="120095"/>
                    <a:pt x="78863" y="114831"/>
                  </a:cubicBezTo>
                  <a:cubicBezTo>
                    <a:pt x="83249" y="110445"/>
                    <a:pt x="84127" y="105181"/>
                    <a:pt x="84127" y="101672"/>
                  </a:cubicBezTo>
                  <a:cubicBezTo>
                    <a:pt x="84127" y="97286"/>
                    <a:pt x="83249" y="92899"/>
                    <a:pt x="78863" y="88513"/>
                  </a:cubicBezTo>
                  <a:cubicBezTo>
                    <a:pt x="74477" y="84127"/>
                    <a:pt x="68336" y="83249"/>
                    <a:pt x="63949" y="83249"/>
                  </a:cubicBezTo>
                  <a:lnTo>
                    <a:pt x="38508" y="83249"/>
                  </a:lnTo>
                  <a:lnTo>
                    <a:pt x="38508" y="120095"/>
                  </a:lnTo>
                  <a:close/>
                  <a:moveTo>
                    <a:pt x="106059" y="30613"/>
                  </a:moveTo>
                  <a:lnTo>
                    <a:pt x="39385" y="30613"/>
                  </a:lnTo>
                  <a:lnTo>
                    <a:pt x="39385" y="61317"/>
                  </a:lnTo>
                  <a:lnTo>
                    <a:pt x="69213" y="61317"/>
                  </a:lnTo>
                  <a:cubicBezTo>
                    <a:pt x="79740" y="61317"/>
                    <a:pt x="90268" y="62195"/>
                    <a:pt x="100795" y="69213"/>
                  </a:cubicBezTo>
                  <a:cubicBezTo>
                    <a:pt x="111322" y="76231"/>
                    <a:pt x="117463" y="86758"/>
                    <a:pt x="117463" y="101672"/>
                  </a:cubicBezTo>
                  <a:cubicBezTo>
                    <a:pt x="117463" y="115709"/>
                    <a:pt x="112200" y="126236"/>
                    <a:pt x="105182" y="133254"/>
                  </a:cubicBezTo>
                  <a:cubicBezTo>
                    <a:pt x="94654" y="143782"/>
                    <a:pt x="83249" y="144659"/>
                    <a:pt x="70967" y="144659"/>
                  </a:cubicBezTo>
                  <a:lnTo>
                    <a:pt x="6049" y="144659"/>
                  </a:lnTo>
                  <a:lnTo>
                    <a:pt x="6049" y="6049"/>
                  </a:lnTo>
                  <a:lnTo>
                    <a:pt x="105182" y="6049"/>
                  </a:lnTo>
                  <a:lnTo>
                    <a:pt x="105182" y="3061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95182332-E7FE-4267-A3EF-B31376739746}"/>
                </a:ext>
              </a:extLst>
            </p:cNvPr>
            <p:cNvSpPr/>
            <p:nvPr/>
          </p:nvSpPr>
          <p:spPr>
            <a:xfrm>
              <a:off x="7670307" y="802920"/>
              <a:ext cx="105274" cy="114046"/>
            </a:xfrm>
            <a:custGeom>
              <a:avLst/>
              <a:gdLst>
                <a:gd name="connsiteX0" fmla="*/ 66581 w 105273"/>
                <a:gd name="connsiteY0" fmla="*/ 62195 h 114046"/>
                <a:gd name="connsiteX1" fmla="*/ 40263 w 105273"/>
                <a:gd name="connsiteY1" fmla="*/ 70967 h 114046"/>
                <a:gd name="connsiteX2" fmla="*/ 36754 w 105273"/>
                <a:gd name="connsiteY2" fmla="*/ 80618 h 114046"/>
                <a:gd name="connsiteX3" fmla="*/ 41140 w 105273"/>
                <a:gd name="connsiteY3" fmla="*/ 89390 h 114046"/>
                <a:gd name="connsiteX4" fmla="*/ 52545 w 105273"/>
                <a:gd name="connsiteY4" fmla="*/ 92899 h 114046"/>
                <a:gd name="connsiteX5" fmla="*/ 70090 w 105273"/>
                <a:gd name="connsiteY5" fmla="*/ 85004 h 114046"/>
                <a:gd name="connsiteX6" fmla="*/ 75354 w 105273"/>
                <a:gd name="connsiteY6" fmla="*/ 66581 h 114046"/>
                <a:gd name="connsiteX7" fmla="*/ 75354 w 105273"/>
                <a:gd name="connsiteY7" fmla="*/ 61317 h 114046"/>
                <a:gd name="connsiteX8" fmla="*/ 66581 w 105273"/>
                <a:gd name="connsiteY8" fmla="*/ 62195 h 114046"/>
                <a:gd name="connsiteX9" fmla="*/ 9558 w 105273"/>
                <a:gd name="connsiteY9" fmla="*/ 36753 h 114046"/>
                <a:gd name="connsiteX10" fmla="*/ 27103 w 105273"/>
                <a:gd name="connsiteY10" fmla="*/ 12190 h 114046"/>
                <a:gd name="connsiteX11" fmla="*/ 59563 w 105273"/>
                <a:gd name="connsiteY11" fmla="*/ 6049 h 114046"/>
                <a:gd name="connsiteX12" fmla="*/ 101672 w 105273"/>
                <a:gd name="connsiteY12" fmla="*/ 24472 h 114046"/>
                <a:gd name="connsiteX13" fmla="*/ 105181 w 105273"/>
                <a:gd name="connsiteY13" fmla="*/ 49035 h 114046"/>
                <a:gd name="connsiteX14" fmla="*/ 105181 w 105273"/>
                <a:gd name="connsiteY14" fmla="*/ 88513 h 114046"/>
                <a:gd name="connsiteX15" fmla="*/ 107813 w 105273"/>
                <a:gd name="connsiteY15" fmla="*/ 110445 h 114046"/>
                <a:gd name="connsiteX16" fmla="*/ 78863 w 105273"/>
                <a:gd name="connsiteY16" fmla="*/ 110445 h 114046"/>
                <a:gd name="connsiteX17" fmla="*/ 77108 w 105273"/>
                <a:gd name="connsiteY17" fmla="*/ 93777 h 114046"/>
                <a:gd name="connsiteX18" fmla="*/ 42894 w 105273"/>
                <a:gd name="connsiteY18" fmla="*/ 112200 h 114046"/>
                <a:gd name="connsiteX19" fmla="*/ 16576 w 105273"/>
                <a:gd name="connsiteY19" fmla="*/ 104304 h 114046"/>
                <a:gd name="connsiteX20" fmla="*/ 6049 w 105273"/>
                <a:gd name="connsiteY20" fmla="*/ 81495 h 114046"/>
                <a:gd name="connsiteX21" fmla="*/ 27981 w 105273"/>
                <a:gd name="connsiteY21" fmla="*/ 51667 h 114046"/>
                <a:gd name="connsiteX22" fmla="*/ 65704 w 105273"/>
                <a:gd name="connsiteY22" fmla="*/ 44649 h 114046"/>
                <a:gd name="connsiteX23" fmla="*/ 75354 w 105273"/>
                <a:gd name="connsiteY23" fmla="*/ 44649 h 114046"/>
                <a:gd name="connsiteX24" fmla="*/ 75354 w 105273"/>
                <a:gd name="connsiteY24" fmla="*/ 42017 h 114046"/>
                <a:gd name="connsiteX25" fmla="*/ 72722 w 105273"/>
                <a:gd name="connsiteY25" fmla="*/ 29735 h 114046"/>
                <a:gd name="connsiteX26" fmla="*/ 57808 w 105273"/>
                <a:gd name="connsiteY26" fmla="*/ 25349 h 114046"/>
                <a:gd name="connsiteX27" fmla="*/ 44649 w 105273"/>
                <a:gd name="connsiteY27" fmla="*/ 27981 h 114046"/>
                <a:gd name="connsiteX28" fmla="*/ 37631 w 105273"/>
                <a:gd name="connsiteY28" fmla="*/ 38508 h 114046"/>
                <a:gd name="connsiteX29" fmla="*/ 9558 w 105273"/>
                <a:gd name="connsiteY29" fmla="*/ 36753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105273" h="114046">
                  <a:moveTo>
                    <a:pt x="66581" y="62195"/>
                  </a:moveTo>
                  <a:cubicBezTo>
                    <a:pt x="56054" y="63072"/>
                    <a:pt x="46404" y="63949"/>
                    <a:pt x="40263" y="70967"/>
                  </a:cubicBezTo>
                  <a:cubicBezTo>
                    <a:pt x="38508" y="72722"/>
                    <a:pt x="36754" y="76231"/>
                    <a:pt x="36754" y="80618"/>
                  </a:cubicBezTo>
                  <a:cubicBezTo>
                    <a:pt x="36754" y="85004"/>
                    <a:pt x="39385" y="88513"/>
                    <a:pt x="41140" y="89390"/>
                  </a:cubicBezTo>
                  <a:cubicBezTo>
                    <a:pt x="43772" y="92022"/>
                    <a:pt x="48158" y="92899"/>
                    <a:pt x="52545" y="92899"/>
                  </a:cubicBezTo>
                  <a:cubicBezTo>
                    <a:pt x="58686" y="92899"/>
                    <a:pt x="65704" y="90268"/>
                    <a:pt x="70090" y="85004"/>
                  </a:cubicBezTo>
                  <a:cubicBezTo>
                    <a:pt x="70967" y="84127"/>
                    <a:pt x="75354" y="77986"/>
                    <a:pt x="75354" y="66581"/>
                  </a:cubicBezTo>
                  <a:lnTo>
                    <a:pt x="75354" y="61317"/>
                  </a:lnTo>
                  <a:lnTo>
                    <a:pt x="66581" y="62195"/>
                  </a:lnTo>
                  <a:close/>
                  <a:moveTo>
                    <a:pt x="9558" y="36753"/>
                  </a:moveTo>
                  <a:cubicBezTo>
                    <a:pt x="13067" y="22717"/>
                    <a:pt x="21840" y="15699"/>
                    <a:pt x="27103" y="12190"/>
                  </a:cubicBezTo>
                  <a:cubicBezTo>
                    <a:pt x="34999" y="7803"/>
                    <a:pt x="45526" y="6049"/>
                    <a:pt x="59563" y="6049"/>
                  </a:cubicBezTo>
                  <a:cubicBezTo>
                    <a:pt x="76231" y="6049"/>
                    <a:pt x="93777" y="8681"/>
                    <a:pt x="101672" y="24472"/>
                  </a:cubicBezTo>
                  <a:cubicBezTo>
                    <a:pt x="106059" y="32367"/>
                    <a:pt x="105181" y="42017"/>
                    <a:pt x="105181" y="49035"/>
                  </a:cubicBezTo>
                  <a:lnTo>
                    <a:pt x="105181" y="88513"/>
                  </a:lnTo>
                  <a:cubicBezTo>
                    <a:pt x="105181" y="96409"/>
                    <a:pt x="106059" y="104304"/>
                    <a:pt x="107813" y="110445"/>
                  </a:cubicBezTo>
                  <a:lnTo>
                    <a:pt x="78863" y="110445"/>
                  </a:lnTo>
                  <a:cubicBezTo>
                    <a:pt x="77986" y="106059"/>
                    <a:pt x="77108" y="100795"/>
                    <a:pt x="77108" y="93777"/>
                  </a:cubicBezTo>
                  <a:cubicBezTo>
                    <a:pt x="73599" y="100795"/>
                    <a:pt x="63949" y="112200"/>
                    <a:pt x="42894" y="112200"/>
                  </a:cubicBezTo>
                  <a:cubicBezTo>
                    <a:pt x="33244" y="112200"/>
                    <a:pt x="23594" y="109568"/>
                    <a:pt x="16576" y="104304"/>
                  </a:cubicBezTo>
                  <a:cubicBezTo>
                    <a:pt x="10435" y="99040"/>
                    <a:pt x="6049" y="90268"/>
                    <a:pt x="6049" y="81495"/>
                  </a:cubicBezTo>
                  <a:cubicBezTo>
                    <a:pt x="6049" y="70967"/>
                    <a:pt x="10435" y="58686"/>
                    <a:pt x="27981" y="51667"/>
                  </a:cubicBezTo>
                  <a:cubicBezTo>
                    <a:pt x="39385" y="47281"/>
                    <a:pt x="57808" y="45526"/>
                    <a:pt x="65704" y="44649"/>
                  </a:cubicBezTo>
                  <a:lnTo>
                    <a:pt x="75354" y="44649"/>
                  </a:lnTo>
                  <a:lnTo>
                    <a:pt x="75354" y="42017"/>
                  </a:lnTo>
                  <a:cubicBezTo>
                    <a:pt x="75354" y="39385"/>
                    <a:pt x="75354" y="33244"/>
                    <a:pt x="72722" y="29735"/>
                  </a:cubicBezTo>
                  <a:cubicBezTo>
                    <a:pt x="69213" y="25349"/>
                    <a:pt x="61317" y="25349"/>
                    <a:pt x="57808" y="25349"/>
                  </a:cubicBezTo>
                  <a:cubicBezTo>
                    <a:pt x="53422" y="25349"/>
                    <a:pt x="48158" y="25349"/>
                    <a:pt x="44649" y="27981"/>
                  </a:cubicBezTo>
                  <a:cubicBezTo>
                    <a:pt x="42017" y="29735"/>
                    <a:pt x="38508" y="33244"/>
                    <a:pt x="37631" y="38508"/>
                  </a:cubicBezTo>
                  <a:lnTo>
                    <a:pt x="9558" y="36753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8163A393-9B3D-4717-989C-74AD91276174}"/>
                </a:ext>
              </a:extLst>
            </p:cNvPr>
            <p:cNvSpPr/>
            <p:nvPr/>
          </p:nvSpPr>
          <p:spPr>
            <a:xfrm>
              <a:off x="7793126" y="804675"/>
              <a:ext cx="96501" cy="114046"/>
            </a:xfrm>
            <a:custGeom>
              <a:avLst/>
              <a:gdLst>
                <a:gd name="connsiteX0" fmla="*/ 35876 w 96500"/>
                <a:gd name="connsiteY0" fmla="*/ 6049 h 114046"/>
                <a:gd name="connsiteX1" fmla="*/ 35876 w 96500"/>
                <a:gd name="connsiteY1" fmla="*/ 44649 h 114046"/>
                <a:gd name="connsiteX2" fmla="*/ 68336 w 96500"/>
                <a:gd name="connsiteY2" fmla="*/ 44649 h 114046"/>
                <a:gd name="connsiteX3" fmla="*/ 68336 w 96500"/>
                <a:gd name="connsiteY3" fmla="*/ 6049 h 114046"/>
                <a:gd name="connsiteX4" fmla="*/ 99040 w 96500"/>
                <a:gd name="connsiteY4" fmla="*/ 6049 h 114046"/>
                <a:gd name="connsiteX5" fmla="*/ 99040 w 96500"/>
                <a:gd name="connsiteY5" fmla="*/ 109568 h 114046"/>
                <a:gd name="connsiteX6" fmla="*/ 68336 w 96500"/>
                <a:gd name="connsiteY6" fmla="*/ 109568 h 114046"/>
                <a:gd name="connsiteX7" fmla="*/ 68336 w 96500"/>
                <a:gd name="connsiteY7" fmla="*/ 66581 h 114046"/>
                <a:gd name="connsiteX8" fmla="*/ 35876 w 96500"/>
                <a:gd name="connsiteY8" fmla="*/ 66581 h 114046"/>
                <a:gd name="connsiteX9" fmla="*/ 35876 w 96500"/>
                <a:gd name="connsiteY9" fmla="*/ 109568 h 114046"/>
                <a:gd name="connsiteX10" fmla="*/ 6049 w 96500"/>
                <a:gd name="connsiteY10" fmla="*/ 109568 h 114046"/>
                <a:gd name="connsiteX11" fmla="*/ 6049 w 96500"/>
                <a:gd name="connsiteY11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96500" h="114046">
                  <a:moveTo>
                    <a:pt x="35876" y="6049"/>
                  </a:moveTo>
                  <a:lnTo>
                    <a:pt x="35876" y="44649"/>
                  </a:lnTo>
                  <a:lnTo>
                    <a:pt x="68336" y="44649"/>
                  </a:lnTo>
                  <a:lnTo>
                    <a:pt x="68336" y="6049"/>
                  </a:lnTo>
                  <a:lnTo>
                    <a:pt x="99040" y="6049"/>
                  </a:lnTo>
                  <a:lnTo>
                    <a:pt x="99040" y="109568"/>
                  </a:lnTo>
                  <a:lnTo>
                    <a:pt x="68336" y="109568"/>
                  </a:lnTo>
                  <a:lnTo>
                    <a:pt x="68336" y="66581"/>
                  </a:lnTo>
                  <a:lnTo>
                    <a:pt x="35876" y="66581"/>
                  </a:lnTo>
                  <a:lnTo>
                    <a:pt x="35876" y="109568"/>
                  </a:lnTo>
                  <a:lnTo>
                    <a:pt x="6049" y="109568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9081B07F-7C9F-4A7D-B151-1B04537A8E09}"/>
                </a:ext>
              </a:extLst>
            </p:cNvPr>
            <p:cNvSpPr/>
            <p:nvPr/>
          </p:nvSpPr>
          <p:spPr>
            <a:xfrm>
              <a:off x="7910682" y="804675"/>
              <a:ext cx="105274" cy="114046"/>
            </a:xfrm>
            <a:custGeom>
              <a:avLst/>
              <a:gdLst>
                <a:gd name="connsiteX0" fmla="*/ 34999 w 105273"/>
                <a:gd name="connsiteY0" fmla="*/ 6049 h 114046"/>
                <a:gd name="connsiteX1" fmla="*/ 34999 w 105273"/>
                <a:gd name="connsiteY1" fmla="*/ 45526 h 114046"/>
                <a:gd name="connsiteX2" fmla="*/ 42894 w 105273"/>
                <a:gd name="connsiteY2" fmla="*/ 45526 h 114046"/>
                <a:gd name="connsiteX3" fmla="*/ 57808 w 105273"/>
                <a:gd name="connsiteY3" fmla="*/ 36753 h 114046"/>
                <a:gd name="connsiteX4" fmla="*/ 65704 w 105273"/>
                <a:gd name="connsiteY4" fmla="*/ 13944 h 114046"/>
                <a:gd name="connsiteX5" fmla="*/ 75354 w 105273"/>
                <a:gd name="connsiteY5" fmla="*/ 6049 h 114046"/>
                <a:gd name="connsiteX6" fmla="*/ 99918 w 105273"/>
                <a:gd name="connsiteY6" fmla="*/ 6049 h 114046"/>
                <a:gd name="connsiteX7" fmla="*/ 92022 w 105273"/>
                <a:gd name="connsiteY7" fmla="*/ 17453 h 114046"/>
                <a:gd name="connsiteX8" fmla="*/ 84127 w 105273"/>
                <a:gd name="connsiteY8" fmla="*/ 39385 h 114046"/>
                <a:gd name="connsiteX9" fmla="*/ 67458 w 105273"/>
                <a:gd name="connsiteY9" fmla="*/ 53422 h 114046"/>
                <a:gd name="connsiteX10" fmla="*/ 67458 w 105273"/>
                <a:gd name="connsiteY10" fmla="*/ 53422 h 114046"/>
                <a:gd name="connsiteX11" fmla="*/ 83249 w 105273"/>
                <a:gd name="connsiteY11" fmla="*/ 63072 h 114046"/>
                <a:gd name="connsiteX12" fmla="*/ 90268 w 105273"/>
                <a:gd name="connsiteY12" fmla="*/ 79740 h 114046"/>
                <a:gd name="connsiteX13" fmla="*/ 97286 w 105273"/>
                <a:gd name="connsiteY13" fmla="*/ 97286 h 114046"/>
                <a:gd name="connsiteX14" fmla="*/ 104304 w 105273"/>
                <a:gd name="connsiteY14" fmla="*/ 108690 h 114046"/>
                <a:gd name="connsiteX15" fmla="*/ 76231 w 105273"/>
                <a:gd name="connsiteY15" fmla="*/ 108690 h 114046"/>
                <a:gd name="connsiteX16" fmla="*/ 64827 w 105273"/>
                <a:gd name="connsiteY16" fmla="*/ 93777 h 114046"/>
                <a:gd name="connsiteX17" fmla="*/ 59563 w 105273"/>
                <a:gd name="connsiteY17" fmla="*/ 77986 h 114046"/>
                <a:gd name="connsiteX18" fmla="*/ 57808 w 105273"/>
                <a:gd name="connsiteY18" fmla="*/ 74477 h 114046"/>
                <a:gd name="connsiteX19" fmla="*/ 44649 w 105273"/>
                <a:gd name="connsiteY19" fmla="*/ 64826 h 114046"/>
                <a:gd name="connsiteX20" fmla="*/ 35876 w 105273"/>
                <a:gd name="connsiteY20" fmla="*/ 64826 h 114046"/>
                <a:gd name="connsiteX21" fmla="*/ 35876 w 105273"/>
                <a:gd name="connsiteY21" fmla="*/ 107813 h 114046"/>
                <a:gd name="connsiteX22" fmla="*/ 6049 w 105273"/>
                <a:gd name="connsiteY22" fmla="*/ 107813 h 114046"/>
                <a:gd name="connsiteX23" fmla="*/ 6049 w 105273"/>
                <a:gd name="connsiteY23" fmla="*/ 6049 h 114046"/>
                <a:gd name="connsiteX24" fmla="*/ 34999 w 105273"/>
                <a:gd name="connsiteY24" fmla="*/ 6049 h 1140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</a:cxnLst>
              <a:rect l="l" t="t" r="r" b="b"/>
              <a:pathLst>
                <a:path w="105273" h="114046">
                  <a:moveTo>
                    <a:pt x="34999" y="6049"/>
                  </a:moveTo>
                  <a:lnTo>
                    <a:pt x="34999" y="45526"/>
                  </a:lnTo>
                  <a:lnTo>
                    <a:pt x="42894" y="45526"/>
                  </a:lnTo>
                  <a:cubicBezTo>
                    <a:pt x="51667" y="45526"/>
                    <a:pt x="55177" y="41140"/>
                    <a:pt x="57808" y="36753"/>
                  </a:cubicBezTo>
                  <a:cubicBezTo>
                    <a:pt x="62195" y="27981"/>
                    <a:pt x="62195" y="20962"/>
                    <a:pt x="65704" y="13944"/>
                  </a:cubicBezTo>
                  <a:cubicBezTo>
                    <a:pt x="68336" y="8681"/>
                    <a:pt x="72722" y="6926"/>
                    <a:pt x="75354" y="6049"/>
                  </a:cubicBezTo>
                  <a:lnTo>
                    <a:pt x="99918" y="6049"/>
                  </a:lnTo>
                  <a:cubicBezTo>
                    <a:pt x="96409" y="9558"/>
                    <a:pt x="93777" y="13944"/>
                    <a:pt x="92022" y="17453"/>
                  </a:cubicBezTo>
                  <a:cubicBezTo>
                    <a:pt x="88513" y="24472"/>
                    <a:pt x="85881" y="34999"/>
                    <a:pt x="84127" y="39385"/>
                  </a:cubicBezTo>
                  <a:cubicBezTo>
                    <a:pt x="81495" y="45526"/>
                    <a:pt x="77986" y="52545"/>
                    <a:pt x="67458" y="53422"/>
                  </a:cubicBezTo>
                  <a:lnTo>
                    <a:pt x="67458" y="53422"/>
                  </a:lnTo>
                  <a:cubicBezTo>
                    <a:pt x="72722" y="54299"/>
                    <a:pt x="78863" y="56931"/>
                    <a:pt x="83249" y="63072"/>
                  </a:cubicBezTo>
                  <a:cubicBezTo>
                    <a:pt x="85881" y="66581"/>
                    <a:pt x="87636" y="71845"/>
                    <a:pt x="90268" y="79740"/>
                  </a:cubicBezTo>
                  <a:cubicBezTo>
                    <a:pt x="92900" y="87636"/>
                    <a:pt x="94654" y="90268"/>
                    <a:pt x="97286" y="97286"/>
                  </a:cubicBezTo>
                  <a:cubicBezTo>
                    <a:pt x="99041" y="101672"/>
                    <a:pt x="100795" y="105181"/>
                    <a:pt x="104304" y="108690"/>
                  </a:cubicBezTo>
                  <a:lnTo>
                    <a:pt x="76231" y="108690"/>
                  </a:lnTo>
                  <a:cubicBezTo>
                    <a:pt x="71845" y="106936"/>
                    <a:pt x="68336" y="104304"/>
                    <a:pt x="64827" y="93777"/>
                  </a:cubicBezTo>
                  <a:cubicBezTo>
                    <a:pt x="62195" y="85881"/>
                    <a:pt x="61317" y="83249"/>
                    <a:pt x="59563" y="77986"/>
                  </a:cubicBezTo>
                  <a:lnTo>
                    <a:pt x="57808" y="74477"/>
                  </a:lnTo>
                  <a:cubicBezTo>
                    <a:pt x="55177" y="66581"/>
                    <a:pt x="50790" y="64826"/>
                    <a:pt x="44649" y="64826"/>
                  </a:cubicBezTo>
                  <a:lnTo>
                    <a:pt x="35876" y="64826"/>
                  </a:lnTo>
                  <a:lnTo>
                    <a:pt x="35876" y="107813"/>
                  </a:lnTo>
                  <a:lnTo>
                    <a:pt x="6049" y="107813"/>
                  </a:lnTo>
                  <a:lnTo>
                    <a:pt x="6049" y="6049"/>
                  </a:lnTo>
                  <a:lnTo>
                    <a:pt x="34999" y="604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369C9C7F-0784-49FF-B592-D3C913E1B752}"/>
                </a:ext>
              </a:extLst>
            </p:cNvPr>
            <p:cNvSpPr/>
            <p:nvPr/>
          </p:nvSpPr>
          <p:spPr>
            <a:xfrm>
              <a:off x="6149978" y="766074"/>
              <a:ext cx="52637" cy="87728"/>
            </a:xfrm>
            <a:custGeom>
              <a:avLst/>
              <a:gdLst>
                <a:gd name="connsiteX0" fmla="*/ 6049 w 52636"/>
                <a:gd name="connsiteY0" fmla="*/ 82372 h 87728"/>
                <a:gd name="connsiteX1" fmla="*/ 52545 w 52636"/>
                <a:gd name="connsiteY1" fmla="*/ 36753 h 87728"/>
                <a:gd name="connsiteX2" fmla="*/ 52545 w 52636"/>
                <a:gd name="connsiteY2" fmla="*/ 6049 h 87728"/>
                <a:gd name="connsiteX3" fmla="*/ 6049 w 52636"/>
                <a:gd name="connsiteY3" fmla="*/ 51667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82372"/>
                  </a:moveTo>
                  <a:lnTo>
                    <a:pt x="52545" y="36753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9280E741-DA8F-4B1A-8879-9E153829E0B1}"/>
                </a:ext>
              </a:extLst>
            </p:cNvPr>
            <p:cNvSpPr/>
            <p:nvPr/>
          </p:nvSpPr>
          <p:spPr>
            <a:xfrm>
              <a:off x="6149978" y="652905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D555F686-D6E3-4AAB-B616-0986F0A0C066}"/>
                </a:ext>
              </a:extLst>
            </p:cNvPr>
            <p:cNvSpPr/>
            <p:nvPr/>
          </p:nvSpPr>
          <p:spPr>
            <a:xfrm>
              <a:off x="6149978" y="6906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1667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1667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5EC852EB-AFCD-4D9F-9054-185C5949EC39}"/>
                </a:ext>
              </a:extLst>
            </p:cNvPr>
            <p:cNvSpPr/>
            <p:nvPr/>
          </p:nvSpPr>
          <p:spPr>
            <a:xfrm>
              <a:off x="6097341" y="574827"/>
              <a:ext cx="52637" cy="122819"/>
            </a:xfrm>
            <a:custGeom>
              <a:avLst/>
              <a:gdLst>
                <a:gd name="connsiteX0" fmla="*/ 45526 w 52636"/>
                <a:gd name="connsiteY0" fmla="*/ 84127 h 122819"/>
                <a:gd name="connsiteX1" fmla="*/ 39385 w 52636"/>
                <a:gd name="connsiteY1" fmla="*/ 779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70967 h 122819"/>
                <a:gd name="connsiteX5" fmla="*/ 26226 w 52636"/>
                <a:gd name="connsiteY5" fmla="*/ 65704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58686 h 122819"/>
                <a:gd name="connsiteX9" fmla="*/ 13067 w 52636"/>
                <a:gd name="connsiteY9" fmla="*/ 52545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74477 h 122819"/>
                <a:gd name="connsiteX13" fmla="*/ 52545 w 52636"/>
                <a:gd name="connsiteY13" fmla="*/ 120095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84127"/>
                  </a:moveTo>
                  <a:lnTo>
                    <a:pt x="39385" y="779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70967"/>
                  </a:lnTo>
                  <a:lnTo>
                    <a:pt x="26226" y="65704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58686"/>
                  </a:lnTo>
                  <a:lnTo>
                    <a:pt x="13067" y="52545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74477"/>
                  </a:lnTo>
                  <a:lnTo>
                    <a:pt x="52545" y="120095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0AFA1CB3-F0EA-486D-A2B2-506929296FF5}"/>
                </a:ext>
              </a:extLst>
            </p:cNvPr>
            <p:cNvSpPr/>
            <p:nvPr/>
          </p:nvSpPr>
          <p:spPr>
            <a:xfrm>
              <a:off x="6149978" y="729228"/>
              <a:ext cx="52637" cy="78955"/>
            </a:xfrm>
            <a:custGeom>
              <a:avLst/>
              <a:gdLst>
                <a:gd name="connsiteX0" fmla="*/ 6049 w 52636"/>
                <a:gd name="connsiteY0" fmla="*/ 80618 h 78955"/>
                <a:gd name="connsiteX1" fmla="*/ 52545 w 52636"/>
                <a:gd name="connsiteY1" fmla="*/ 34999 h 78955"/>
                <a:gd name="connsiteX2" fmla="*/ 52545 w 52636"/>
                <a:gd name="connsiteY2" fmla="*/ 6049 h 78955"/>
                <a:gd name="connsiteX3" fmla="*/ 6049 w 52636"/>
                <a:gd name="connsiteY3" fmla="*/ 50790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80618"/>
                  </a:moveTo>
                  <a:lnTo>
                    <a:pt x="52545" y="34999"/>
                  </a:lnTo>
                  <a:lnTo>
                    <a:pt x="52545" y="6049"/>
                  </a:lnTo>
                  <a:lnTo>
                    <a:pt x="6049" y="5079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F03FE3C3-3F57-455D-BEE4-95F16EBF660B}"/>
                </a:ext>
              </a:extLst>
            </p:cNvPr>
            <p:cNvSpPr/>
            <p:nvPr/>
          </p:nvSpPr>
          <p:spPr>
            <a:xfrm>
              <a:off x="6097341" y="766074"/>
              <a:ext cx="52637" cy="87728"/>
            </a:xfrm>
            <a:custGeom>
              <a:avLst/>
              <a:gdLst>
                <a:gd name="connsiteX0" fmla="*/ 6049 w 52636"/>
                <a:gd name="connsiteY0" fmla="*/ 36753 h 87728"/>
                <a:gd name="connsiteX1" fmla="*/ 52545 w 52636"/>
                <a:gd name="connsiteY1" fmla="*/ 82372 h 87728"/>
                <a:gd name="connsiteX2" fmla="*/ 52545 w 52636"/>
                <a:gd name="connsiteY2" fmla="*/ 51667 h 87728"/>
                <a:gd name="connsiteX3" fmla="*/ 6049 w 52636"/>
                <a:gd name="connsiteY3" fmla="*/ 6049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87728">
                  <a:moveTo>
                    <a:pt x="6049" y="36753"/>
                  </a:moveTo>
                  <a:lnTo>
                    <a:pt x="52545" y="82372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8" name="Freeform: Shape 97">
              <a:extLst>
                <a:ext uri="{FF2B5EF4-FFF2-40B4-BE49-F238E27FC236}">
                  <a16:creationId xmlns:a16="http://schemas.microsoft.com/office/drawing/2014/main" id="{40342F58-30BE-455C-9EAB-F5EB81B48591}"/>
                </a:ext>
              </a:extLst>
            </p:cNvPr>
            <p:cNvSpPr/>
            <p:nvPr/>
          </p:nvSpPr>
          <p:spPr>
            <a:xfrm>
              <a:off x="6149978" y="574827"/>
              <a:ext cx="52637" cy="122819"/>
            </a:xfrm>
            <a:custGeom>
              <a:avLst/>
              <a:gdLst>
                <a:gd name="connsiteX0" fmla="*/ 45526 w 52636"/>
                <a:gd name="connsiteY0" fmla="*/ 52545 h 122819"/>
                <a:gd name="connsiteX1" fmla="*/ 39385 w 52636"/>
                <a:gd name="connsiteY1" fmla="*/ 58686 h 122819"/>
                <a:gd name="connsiteX2" fmla="*/ 39385 w 52636"/>
                <a:gd name="connsiteY2" fmla="*/ 6049 h 122819"/>
                <a:gd name="connsiteX3" fmla="*/ 32367 w 52636"/>
                <a:gd name="connsiteY3" fmla="*/ 6049 h 122819"/>
                <a:gd name="connsiteX4" fmla="*/ 32367 w 52636"/>
                <a:gd name="connsiteY4" fmla="*/ 65704 h 122819"/>
                <a:gd name="connsiteX5" fmla="*/ 26226 w 52636"/>
                <a:gd name="connsiteY5" fmla="*/ 70967 h 122819"/>
                <a:gd name="connsiteX6" fmla="*/ 26226 w 52636"/>
                <a:gd name="connsiteY6" fmla="*/ 6049 h 122819"/>
                <a:gd name="connsiteX7" fmla="*/ 19208 w 52636"/>
                <a:gd name="connsiteY7" fmla="*/ 6049 h 122819"/>
                <a:gd name="connsiteX8" fmla="*/ 19208 w 52636"/>
                <a:gd name="connsiteY8" fmla="*/ 77986 h 122819"/>
                <a:gd name="connsiteX9" fmla="*/ 13067 w 52636"/>
                <a:gd name="connsiteY9" fmla="*/ 84127 h 122819"/>
                <a:gd name="connsiteX10" fmla="*/ 13067 w 52636"/>
                <a:gd name="connsiteY10" fmla="*/ 6049 h 122819"/>
                <a:gd name="connsiteX11" fmla="*/ 6049 w 52636"/>
                <a:gd name="connsiteY11" fmla="*/ 6049 h 122819"/>
                <a:gd name="connsiteX12" fmla="*/ 6049 w 52636"/>
                <a:gd name="connsiteY12" fmla="*/ 120095 h 122819"/>
                <a:gd name="connsiteX13" fmla="*/ 52545 w 52636"/>
                <a:gd name="connsiteY13" fmla="*/ 74477 h 122819"/>
                <a:gd name="connsiteX14" fmla="*/ 52545 w 52636"/>
                <a:gd name="connsiteY14" fmla="*/ 6049 h 122819"/>
                <a:gd name="connsiteX15" fmla="*/ 45526 w 52636"/>
                <a:gd name="connsiteY15" fmla="*/ 6049 h 1228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52636" h="122819">
                  <a:moveTo>
                    <a:pt x="45526" y="52545"/>
                  </a:moveTo>
                  <a:lnTo>
                    <a:pt x="39385" y="58686"/>
                  </a:lnTo>
                  <a:lnTo>
                    <a:pt x="39385" y="6049"/>
                  </a:lnTo>
                  <a:lnTo>
                    <a:pt x="32367" y="6049"/>
                  </a:lnTo>
                  <a:lnTo>
                    <a:pt x="32367" y="65704"/>
                  </a:lnTo>
                  <a:lnTo>
                    <a:pt x="26226" y="70967"/>
                  </a:lnTo>
                  <a:lnTo>
                    <a:pt x="26226" y="6049"/>
                  </a:lnTo>
                  <a:lnTo>
                    <a:pt x="19208" y="6049"/>
                  </a:lnTo>
                  <a:lnTo>
                    <a:pt x="19208" y="77986"/>
                  </a:lnTo>
                  <a:lnTo>
                    <a:pt x="13067" y="84127"/>
                  </a:lnTo>
                  <a:lnTo>
                    <a:pt x="13067" y="6049"/>
                  </a:lnTo>
                  <a:lnTo>
                    <a:pt x="6049" y="6049"/>
                  </a:lnTo>
                  <a:lnTo>
                    <a:pt x="6049" y="120095"/>
                  </a:lnTo>
                  <a:lnTo>
                    <a:pt x="52545" y="74477"/>
                  </a:lnTo>
                  <a:lnTo>
                    <a:pt x="52545" y="6049"/>
                  </a:lnTo>
                  <a:lnTo>
                    <a:pt x="45526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99" name="Freeform: Shape 98">
              <a:extLst>
                <a:ext uri="{FF2B5EF4-FFF2-40B4-BE49-F238E27FC236}">
                  <a16:creationId xmlns:a16="http://schemas.microsoft.com/office/drawing/2014/main" id="{FD9A9859-5D9B-447D-B9F8-2E699DE92B76}"/>
                </a:ext>
              </a:extLst>
            </p:cNvPr>
            <p:cNvSpPr/>
            <p:nvPr/>
          </p:nvSpPr>
          <p:spPr>
            <a:xfrm>
              <a:off x="6097341" y="652905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C63F3E04-E405-4346-9078-E15A50ECA75A}"/>
                </a:ext>
              </a:extLst>
            </p:cNvPr>
            <p:cNvSpPr/>
            <p:nvPr/>
          </p:nvSpPr>
          <p:spPr>
            <a:xfrm>
              <a:off x="6097341" y="6906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1667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1667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F1901315-563E-4344-9D94-ACF484E5639A}"/>
                </a:ext>
              </a:extLst>
            </p:cNvPr>
            <p:cNvSpPr/>
            <p:nvPr/>
          </p:nvSpPr>
          <p:spPr>
            <a:xfrm>
              <a:off x="6097341" y="729228"/>
              <a:ext cx="52637" cy="78955"/>
            </a:xfrm>
            <a:custGeom>
              <a:avLst/>
              <a:gdLst>
                <a:gd name="connsiteX0" fmla="*/ 6049 w 52636"/>
                <a:gd name="connsiteY0" fmla="*/ 34999 h 78955"/>
                <a:gd name="connsiteX1" fmla="*/ 52545 w 52636"/>
                <a:gd name="connsiteY1" fmla="*/ 80618 h 78955"/>
                <a:gd name="connsiteX2" fmla="*/ 52545 w 52636"/>
                <a:gd name="connsiteY2" fmla="*/ 50790 h 78955"/>
                <a:gd name="connsiteX3" fmla="*/ 6049 w 52636"/>
                <a:gd name="connsiteY3" fmla="*/ 604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2636" h="78955">
                  <a:moveTo>
                    <a:pt x="6049" y="34999"/>
                  </a:moveTo>
                  <a:lnTo>
                    <a:pt x="52545" y="80618"/>
                  </a:lnTo>
                  <a:lnTo>
                    <a:pt x="52545" y="50790"/>
                  </a:lnTo>
                  <a:lnTo>
                    <a:pt x="6049" y="6049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EF661468-FA97-4660-8EB1-27F6E236AEFD}"/>
                </a:ext>
              </a:extLst>
            </p:cNvPr>
            <p:cNvSpPr/>
            <p:nvPr/>
          </p:nvSpPr>
          <p:spPr>
            <a:xfrm>
              <a:off x="6214896" y="744142"/>
              <a:ext cx="175456" cy="96501"/>
            </a:xfrm>
            <a:custGeom>
              <a:avLst/>
              <a:gdLst>
                <a:gd name="connsiteX0" fmla="*/ 43772 w 175456"/>
                <a:gd name="connsiteY0" fmla="*/ 72722 h 96500"/>
                <a:gd name="connsiteX1" fmla="*/ 31490 w 175456"/>
                <a:gd name="connsiteY1" fmla="*/ 85004 h 96500"/>
                <a:gd name="connsiteX2" fmla="*/ 19208 w 175456"/>
                <a:gd name="connsiteY2" fmla="*/ 72722 h 96500"/>
                <a:gd name="connsiteX3" fmla="*/ 20962 w 175456"/>
                <a:gd name="connsiteY3" fmla="*/ 65704 h 96500"/>
                <a:gd name="connsiteX4" fmla="*/ 24472 w 175456"/>
                <a:gd name="connsiteY4" fmla="*/ 59563 h 96500"/>
                <a:gd name="connsiteX5" fmla="*/ 20962 w 175456"/>
                <a:gd name="connsiteY5" fmla="*/ 51667 h 96500"/>
                <a:gd name="connsiteX6" fmla="*/ 24472 w 175456"/>
                <a:gd name="connsiteY6" fmla="*/ 43772 h 96500"/>
                <a:gd name="connsiteX7" fmla="*/ 20962 w 175456"/>
                <a:gd name="connsiteY7" fmla="*/ 37631 h 96500"/>
                <a:gd name="connsiteX8" fmla="*/ 19208 w 175456"/>
                <a:gd name="connsiteY8" fmla="*/ 30613 h 96500"/>
                <a:gd name="connsiteX9" fmla="*/ 31490 w 175456"/>
                <a:gd name="connsiteY9" fmla="*/ 18331 h 96500"/>
                <a:gd name="connsiteX10" fmla="*/ 43772 w 175456"/>
                <a:gd name="connsiteY10" fmla="*/ 30613 h 96500"/>
                <a:gd name="connsiteX11" fmla="*/ 37631 w 175456"/>
                <a:gd name="connsiteY11" fmla="*/ 48158 h 96500"/>
                <a:gd name="connsiteX12" fmla="*/ 37631 w 175456"/>
                <a:gd name="connsiteY12" fmla="*/ 55176 h 96500"/>
                <a:gd name="connsiteX13" fmla="*/ 43772 w 175456"/>
                <a:gd name="connsiteY13" fmla="*/ 72722 h 96500"/>
                <a:gd name="connsiteX14" fmla="*/ 164837 w 175456"/>
                <a:gd name="connsiteY14" fmla="*/ 43772 h 96500"/>
                <a:gd name="connsiteX15" fmla="*/ 56931 w 175456"/>
                <a:gd name="connsiteY15" fmla="*/ 43772 h 96500"/>
                <a:gd name="connsiteX16" fmla="*/ 51667 w 175456"/>
                <a:gd name="connsiteY16" fmla="*/ 43772 h 96500"/>
                <a:gd name="connsiteX17" fmla="*/ 55176 w 175456"/>
                <a:gd name="connsiteY17" fmla="*/ 30613 h 96500"/>
                <a:gd name="connsiteX18" fmla="*/ 30613 w 175456"/>
                <a:gd name="connsiteY18" fmla="*/ 6049 h 96500"/>
                <a:gd name="connsiteX19" fmla="*/ 6049 w 175456"/>
                <a:gd name="connsiteY19" fmla="*/ 30613 h 96500"/>
                <a:gd name="connsiteX20" fmla="*/ 10435 w 175456"/>
                <a:gd name="connsiteY20" fmla="*/ 44649 h 96500"/>
                <a:gd name="connsiteX21" fmla="*/ 6926 w 175456"/>
                <a:gd name="connsiteY21" fmla="*/ 50790 h 96500"/>
                <a:gd name="connsiteX22" fmla="*/ 10435 w 175456"/>
                <a:gd name="connsiteY22" fmla="*/ 56931 h 96500"/>
                <a:gd name="connsiteX23" fmla="*/ 6049 w 175456"/>
                <a:gd name="connsiteY23" fmla="*/ 70967 h 96500"/>
                <a:gd name="connsiteX24" fmla="*/ 30613 w 175456"/>
                <a:gd name="connsiteY24" fmla="*/ 95531 h 96500"/>
                <a:gd name="connsiteX25" fmla="*/ 55176 w 175456"/>
                <a:gd name="connsiteY25" fmla="*/ 70967 h 96500"/>
                <a:gd name="connsiteX26" fmla="*/ 51667 w 175456"/>
                <a:gd name="connsiteY26" fmla="*/ 57808 h 96500"/>
                <a:gd name="connsiteX27" fmla="*/ 71845 w 175456"/>
                <a:gd name="connsiteY27" fmla="*/ 57808 h 96500"/>
                <a:gd name="connsiteX28" fmla="*/ 135009 w 175456"/>
                <a:gd name="connsiteY28" fmla="*/ 57808 h 96500"/>
                <a:gd name="connsiteX29" fmla="*/ 135009 w 175456"/>
                <a:gd name="connsiteY29" fmla="*/ 63072 h 96500"/>
                <a:gd name="connsiteX30" fmla="*/ 127114 w 175456"/>
                <a:gd name="connsiteY30" fmla="*/ 63072 h 96500"/>
                <a:gd name="connsiteX31" fmla="*/ 127114 w 175456"/>
                <a:gd name="connsiteY31" fmla="*/ 70090 h 96500"/>
                <a:gd name="connsiteX32" fmla="*/ 135009 w 175456"/>
                <a:gd name="connsiteY32" fmla="*/ 70090 h 96500"/>
                <a:gd name="connsiteX33" fmla="*/ 135009 w 175456"/>
                <a:gd name="connsiteY33" fmla="*/ 77108 h 96500"/>
                <a:gd name="connsiteX34" fmla="*/ 127114 w 175456"/>
                <a:gd name="connsiteY34" fmla="*/ 77108 h 96500"/>
                <a:gd name="connsiteX35" fmla="*/ 127114 w 175456"/>
                <a:gd name="connsiteY35" fmla="*/ 91145 h 96500"/>
                <a:gd name="connsiteX36" fmla="*/ 135009 w 175456"/>
                <a:gd name="connsiteY36" fmla="*/ 91145 h 96500"/>
                <a:gd name="connsiteX37" fmla="*/ 135009 w 175456"/>
                <a:gd name="connsiteY37" fmla="*/ 85004 h 96500"/>
                <a:gd name="connsiteX38" fmla="*/ 147291 w 175456"/>
                <a:gd name="connsiteY38" fmla="*/ 85004 h 96500"/>
                <a:gd name="connsiteX39" fmla="*/ 147291 w 175456"/>
                <a:gd name="connsiteY39" fmla="*/ 91145 h 96500"/>
                <a:gd name="connsiteX40" fmla="*/ 155187 w 175456"/>
                <a:gd name="connsiteY40" fmla="*/ 91145 h 96500"/>
                <a:gd name="connsiteX41" fmla="*/ 155187 w 175456"/>
                <a:gd name="connsiteY41" fmla="*/ 77108 h 96500"/>
                <a:gd name="connsiteX42" fmla="*/ 147291 w 175456"/>
                <a:gd name="connsiteY42" fmla="*/ 77108 h 96500"/>
                <a:gd name="connsiteX43" fmla="*/ 147291 w 175456"/>
                <a:gd name="connsiteY43" fmla="*/ 70090 h 96500"/>
                <a:gd name="connsiteX44" fmla="*/ 155187 w 175456"/>
                <a:gd name="connsiteY44" fmla="*/ 70090 h 96500"/>
                <a:gd name="connsiteX45" fmla="*/ 155187 w 175456"/>
                <a:gd name="connsiteY45" fmla="*/ 63072 h 96500"/>
                <a:gd name="connsiteX46" fmla="*/ 147291 w 175456"/>
                <a:gd name="connsiteY46" fmla="*/ 63072 h 96500"/>
                <a:gd name="connsiteX47" fmla="*/ 147291 w 175456"/>
                <a:gd name="connsiteY47" fmla="*/ 57808 h 96500"/>
                <a:gd name="connsiteX48" fmla="*/ 163959 w 175456"/>
                <a:gd name="connsiteY48" fmla="*/ 57808 h 96500"/>
                <a:gd name="connsiteX49" fmla="*/ 170100 w 175456"/>
                <a:gd name="connsiteY49" fmla="*/ 51667 h 96500"/>
                <a:gd name="connsiteX50" fmla="*/ 170100 w 175456"/>
                <a:gd name="connsiteY50" fmla="*/ 48158 h 96500"/>
                <a:gd name="connsiteX51" fmla="*/ 164837 w 175456"/>
                <a:gd name="connsiteY51" fmla="*/ 43772 h 96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175456" h="96500">
                  <a:moveTo>
                    <a:pt x="43772" y="72722"/>
                  </a:moveTo>
                  <a:cubicBezTo>
                    <a:pt x="43772" y="79740"/>
                    <a:pt x="38508" y="85004"/>
                    <a:pt x="31490" y="85004"/>
                  </a:cubicBezTo>
                  <a:cubicBezTo>
                    <a:pt x="24472" y="85004"/>
                    <a:pt x="19208" y="79740"/>
                    <a:pt x="19208" y="72722"/>
                  </a:cubicBezTo>
                  <a:cubicBezTo>
                    <a:pt x="19208" y="70090"/>
                    <a:pt x="20085" y="67458"/>
                    <a:pt x="20962" y="65704"/>
                  </a:cubicBezTo>
                  <a:lnTo>
                    <a:pt x="24472" y="59563"/>
                  </a:lnTo>
                  <a:cubicBezTo>
                    <a:pt x="22717" y="57808"/>
                    <a:pt x="20962" y="55176"/>
                    <a:pt x="20962" y="51667"/>
                  </a:cubicBezTo>
                  <a:cubicBezTo>
                    <a:pt x="20962" y="48158"/>
                    <a:pt x="22717" y="45526"/>
                    <a:pt x="24472" y="43772"/>
                  </a:cubicBezTo>
                  <a:lnTo>
                    <a:pt x="20962" y="37631"/>
                  </a:lnTo>
                  <a:cubicBezTo>
                    <a:pt x="20085" y="35876"/>
                    <a:pt x="19208" y="33244"/>
                    <a:pt x="19208" y="30613"/>
                  </a:cubicBezTo>
                  <a:cubicBezTo>
                    <a:pt x="19208" y="23594"/>
                    <a:pt x="24472" y="18331"/>
                    <a:pt x="31490" y="18331"/>
                  </a:cubicBezTo>
                  <a:cubicBezTo>
                    <a:pt x="38508" y="18331"/>
                    <a:pt x="43772" y="23594"/>
                    <a:pt x="43772" y="30613"/>
                  </a:cubicBezTo>
                  <a:cubicBezTo>
                    <a:pt x="43772" y="35876"/>
                    <a:pt x="37631" y="48158"/>
                    <a:pt x="37631" y="48158"/>
                  </a:cubicBezTo>
                  <a:lnTo>
                    <a:pt x="37631" y="55176"/>
                  </a:lnTo>
                  <a:cubicBezTo>
                    <a:pt x="37631" y="55176"/>
                    <a:pt x="43772" y="67458"/>
                    <a:pt x="43772" y="72722"/>
                  </a:cubicBezTo>
                  <a:moveTo>
                    <a:pt x="164837" y="43772"/>
                  </a:moveTo>
                  <a:lnTo>
                    <a:pt x="56931" y="43772"/>
                  </a:lnTo>
                  <a:lnTo>
                    <a:pt x="51667" y="43772"/>
                  </a:lnTo>
                  <a:cubicBezTo>
                    <a:pt x="54299" y="40263"/>
                    <a:pt x="55176" y="35876"/>
                    <a:pt x="55176" y="30613"/>
                  </a:cubicBezTo>
                  <a:cubicBezTo>
                    <a:pt x="55176" y="17453"/>
                    <a:pt x="44649" y="6049"/>
                    <a:pt x="30613" y="6049"/>
                  </a:cubicBezTo>
                  <a:cubicBezTo>
                    <a:pt x="17453" y="6049"/>
                    <a:pt x="6049" y="16576"/>
                    <a:pt x="6049" y="30613"/>
                  </a:cubicBezTo>
                  <a:cubicBezTo>
                    <a:pt x="6049" y="35876"/>
                    <a:pt x="7803" y="41140"/>
                    <a:pt x="10435" y="44649"/>
                  </a:cubicBezTo>
                  <a:cubicBezTo>
                    <a:pt x="8681" y="46404"/>
                    <a:pt x="6926" y="48158"/>
                    <a:pt x="6926" y="50790"/>
                  </a:cubicBezTo>
                  <a:cubicBezTo>
                    <a:pt x="6926" y="53422"/>
                    <a:pt x="8681" y="56054"/>
                    <a:pt x="10435" y="56931"/>
                  </a:cubicBezTo>
                  <a:cubicBezTo>
                    <a:pt x="7803" y="61317"/>
                    <a:pt x="6049" y="65704"/>
                    <a:pt x="6049" y="70967"/>
                  </a:cubicBezTo>
                  <a:cubicBezTo>
                    <a:pt x="6049" y="84127"/>
                    <a:pt x="16576" y="95531"/>
                    <a:pt x="30613" y="95531"/>
                  </a:cubicBezTo>
                  <a:cubicBezTo>
                    <a:pt x="43772" y="95531"/>
                    <a:pt x="55176" y="85004"/>
                    <a:pt x="55176" y="70967"/>
                  </a:cubicBezTo>
                  <a:cubicBezTo>
                    <a:pt x="55176" y="66581"/>
                    <a:pt x="53422" y="62195"/>
                    <a:pt x="51667" y="57808"/>
                  </a:cubicBezTo>
                  <a:lnTo>
                    <a:pt x="71845" y="57808"/>
                  </a:lnTo>
                  <a:lnTo>
                    <a:pt x="135009" y="57808"/>
                  </a:lnTo>
                  <a:lnTo>
                    <a:pt x="135009" y="63072"/>
                  </a:lnTo>
                  <a:lnTo>
                    <a:pt x="127114" y="63072"/>
                  </a:lnTo>
                  <a:lnTo>
                    <a:pt x="127114" y="70090"/>
                  </a:lnTo>
                  <a:lnTo>
                    <a:pt x="135009" y="70090"/>
                  </a:lnTo>
                  <a:lnTo>
                    <a:pt x="135009" y="77108"/>
                  </a:lnTo>
                  <a:lnTo>
                    <a:pt x="127114" y="77108"/>
                  </a:lnTo>
                  <a:lnTo>
                    <a:pt x="127114" y="91145"/>
                  </a:lnTo>
                  <a:lnTo>
                    <a:pt x="135009" y="91145"/>
                  </a:lnTo>
                  <a:lnTo>
                    <a:pt x="135009" y="85004"/>
                  </a:lnTo>
                  <a:lnTo>
                    <a:pt x="147291" y="85004"/>
                  </a:lnTo>
                  <a:lnTo>
                    <a:pt x="147291" y="91145"/>
                  </a:lnTo>
                  <a:lnTo>
                    <a:pt x="155187" y="91145"/>
                  </a:lnTo>
                  <a:lnTo>
                    <a:pt x="155187" y="77108"/>
                  </a:lnTo>
                  <a:lnTo>
                    <a:pt x="147291" y="77108"/>
                  </a:lnTo>
                  <a:lnTo>
                    <a:pt x="147291" y="70090"/>
                  </a:lnTo>
                  <a:lnTo>
                    <a:pt x="155187" y="70090"/>
                  </a:lnTo>
                  <a:lnTo>
                    <a:pt x="155187" y="63072"/>
                  </a:lnTo>
                  <a:lnTo>
                    <a:pt x="147291" y="63072"/>
                  </a:lnTo>
                  <a:lnTo>
                    <a:pt x="147291" y="57808"/>
                  </a:lnTo>
                  <a:lnTo>
                    <a:pt x="163959" y="57808"/>
                  </a:lnTo>
                  <a:cubicBezTo>
                    <a:pt x="167468" y="57808"/>
                    <a:pt x="170100" y="55176"/>
                    <a:pt x="170100" y="51667"/>
                  </a:cubicBezTo>
                  <a:lnTo>
                    <a:pt x="170100" y="48158"/>
                  </a:lnTo>
                  <a:cubicBezTo>
                    <a:pt x="170100" y="46404"/>
                    <a:pt x="167468" y="43772"/>
                    <a:pt x="164837" y="43772"/>
                  </a:cubicBezTo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4A4C07E9-23F8-4398-976D-19BEE9A37FED}"/>
                </a:ext>
              </a:extLst>
            </p:cNvPr>
            <p:cNvSpPr/>
            <p:nvPr/>
          </p:nvSpPr>
          <p:spPr>
            <a:xfrm>
              <a:off x="6055231" y="766952"/>
              <a:ext cx="96501" cy="166683"/>
            </a:xfrm>
            <a:custGeom>
              <a:avLst/>
              <a:gdLst>
                <a:gd name="connsiteX0" fmla="*/ 6049 w 96500"/>
                <a:gd name="connsiteY0" fmla="*/ 6049 h 166683"/>
                <a:gd name="connsiteX1" fmla="*/ 6049 w 96500"/>
                <a:gd name="connsiteY1" fmla="*/ 35876 h 166683"/>
                <a:gd name="connsiteX2" fmla="*/ 26226 w 96500"/>
                <a:gd name="connsiteY2" fmla="*/ 90268 h 166683"/>
                <a:gd name="connsiteX3" fmla="*/ 74477 w 96500"/>
                <a:gd name="connsiteY3" fmla="*/ 137641 h 166683"/>
                <a:gd name="connsiteX4" fmla="*/ 92900 w 96500"/>
                <a:gd name="connsiteY4" fmla="*/ 162205 h 166683"/>
                <a:gd name="connsiteX5" fmla="*/ 92900 w 96500"/>
                <a:gd name="connsiteY5" fmla="*/ 128868 h 166683"/>
                <a:gd name="connsiteX6" fmla="*/ 70090 w 96500"/>
                <a:gd name="connsiteY6" fmla="*/ 79740 h 166683"/>
                <a:gd name="connsiteX7" fmla="*/ 29735 w 96500"/>
                <a:gd name="connsiteY7" fmla="*/ 40263 h 166683"/>
                <a:gd name="connsiteX8" fmla="*/ 6049 w 96500"/>
                <a:gd name="connsiteY8" fmla="*/ 6049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6049" y="6049"/>
                  </a:moveTo>
                  <a:lnTo>
                    <a:pt x="6049" y="35876"/>
                  </a:lnTo>
                  <a:cubicBezTo>
                    <a:pt x="6049" y="64826"/>
                    <a:pt x="18331" y="83249"/>
                    <a:pt x="26226" y="90268"/>
                  </a:cubicBezTo>
                  <a:cubicBezTo>
                    <a:pt x="30613" y="94654"/>
                    <a:pt x="73599" y="136763"/>
                    <a:pt x="74477" y="137641"/>
                  </a:cubicBezTo>
                  <a:cubicBezTo>
                    <a:pt x="87636" y="150800"/>
                    <a:pt x="90268" y="155186"/>
                    <a:pt x="92900" y="162205"/>
                  </a:cubicBezTo>
                  <a:lnTo>
                    <a:pt x="92900" y="128868"/>
                  </a:lnTo>
                  <a:cubicBezTo>
                    <a:pt x="92900" y="99040"/>
                    <a:pt x="77986" y="87636"/>
                    <a:pt x="70090" y="79740"/>
                  </a:cubicBezTo>
                  <a:cubicBezTo>
                    <a:pt x="51667" y="62195"/>
                    <a:pt x="39385" y="50790"/>
                    <a:pt x="29735" y="40263"/>
                  </a:cubicBezTo>
                  <a:cubicBezTo>
                    <a:pt x="11312" y="23594"/>
                    <a:pt x="6049" y="6049"/>
                    <a:pt x="6049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4" name="Freeform: Shape 103">
              <a:extLst>
                <a:ext uri="{FF2B5EF4-FFF2-40B4-BE49-F238E27FC236}">
                  <a16:creationId xmlns:a16="http://schemas.microsoft.com/office/drawing/2014/main" id="{02E23B80-7876-4780-97F1-AD1B7A0B19B9}"/>
                </a:ext>
              </a:extLst>
            </p:cNvPr>
            <p:cNvSpPr/>
            <p:nvPr/>
          </p:nvSpPr>
          <p:spPr>
            <a:xfrm>
              <a:off x="6055231" y="845907"/>
              <a:ext cx="96501" cy="166683"/>
            </a:xfrm>
            <a:custGeom>
              <a:avLst/>
              <a:gdLst>
                <a:gd name="connsiteX0" fmla="*/ 70090 w 96500"/>
                <a:gd name="connsiteY0" fmla="*/ 77108 h 166683"/>
                <a:gd name="connsiteX1" fmla="*/ 29735 w 96500"/>
                <a:gd name="connsiteY1" fmla="*/ 37631 h 166683"/>
                <a:gd name="connsiteX2" fmla="*/ 6049 w 96500"/>
                <a:gd name="connsiteY2" fmla="*/ 6049 h 166683"/>
                <a:gd name="connsiteX3" fmla="*/ 6049 w 96500"/>
                <a:gd name="connsiteY3" fmla="*/ 32367 h 166683"/>
                <a:gd name="connsiteX4" fmla="*/ 26226 w 96500"/>
                <a:gd name="connsiteY4" fmla="*/ 87636 h 166683"/>
                <a:gd name="connsiteX5" fmla="*/ 74477 w 96500"/>
                <a:gd name="connsiteY5" fmla="*/ 135009 h 166683"/>
                <a:gd name="connsiteX6" fmla="*/ 92900 w 96500"/>
                <a:gd name="connsiteY6" fmla="*/ 162205 h 166683"/>
                <a:gd name="connsiteX7" fmla="*/ 92900 w 96500"/>
                <a:gd name="connsiteY7" fmla="*/ 127113 h 166683"/>
                <a:gd name="connsiteX8" fmla="*/ 70090 w 96500"/>
                <a:gd name="connsiteY8" fmla="*/ 77108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96500" h="166683">
                  <a:moveTo>
                    <a:pt x="70090" y="77108"/>
                  </a:moveTo>
                  <a:cubicBezTo>
                    <a:pt x="51667" y="59563"/>
                    <a:pt x="39385" y="47281"/>
                    <a:pt x="29735" y="37631"/>
                  </a:cubicBezTo>
                  <a:cubicBezTo>
                    <a:pt x="11312" y="19208"/>
                    <a:pt x="6049" y="6049"/>
                    <a:pt x="6049" y="6049"/>
                  </a:cubicBezTo>
                  <a:lnTo>
                    <a:pt x="6049" y="32367"/>
                  </a:lnTo>
                  <a:cubicBezTo>
                    <a:pt x="6049" y="61317"/>
                    <a:pt x="19208" y="79740"/>
                    <a:pt x="26226" y="87636"/>
                  </a:cubicBezTo>
                  <a:cubicBezTo>
                    <a:pt x="30613" y="92022"/>
                    <a:pt x="73599" y="134132"/>
                    <a:pt x="74477" y="135009"/>
                  </a:cubicBezTo>
                  <a:cubicBezTo>
                    <a:pt x="87636" y="148168"/>
                    <a:pt x="90268" y="154309"/>
                    <a:pt x="92900" y="162205"/>
                  </a:cubicBezTo>
                  <a:lnTo>
                    <a:pt x="92900" y="127113"/>
                  </a:lnTo>
                  <a:cubicBezTo>
                    <a:pt x="92900" y="96409"/>
                    <a:pt x="77108" y="84127"/>
                    <a:pt x="70090" y="77108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5" name="Freeform: Shape 104">
              <a:extLst>
                <a:ext uri="{FF2B5EF4-FFF2-40B4-BE49-F238E27FC236}">
                  <a16:creationId xmlns:a16="http://schemas.microsoft.com/office/drawing/2014/main" id="{96BFB7FD-9259-428D-9BC5-CFB0FA907695}"/>
                </a:ext>
              </a:extLst>
            </p:cNvPr>
            <p:cNvSpPr/>
            <p:nvPr/>
          </p:nvSpPr>
          <p:spPr>
            <a:xfrm>
              <a:off x="6006981" y="630973"/>
              <a:ext cx="421095" cy="421095"/>
            </a:xfrm>
            <a:custGeom>
              <a:avLst/>
              <a:gdLst>
                <a:gd name="connsiteX0" fmla="*/ 213964 w 421095"/>
                <a:gd name="connsiteY0" fmla="*/ 6049 h 421094"/>
                <a:gd name="connsiteX1" fmla="*/ 204314 w 421095"/>
                <a:gd name="connsiteY1" fmla="*/ 6049 h 421094"/>
                <a:gd name="connsiteX2" fmla="*/ 204314 w 421095"/>
                <a:gd name="connsiteY2" fmla="*/ 20085 h 421094"/>
                <a:gd name="connsiteX3" fmla="*/ 213964 w 421095"/>
                <a:gd name="connsiteY3" fmla="*/ 20085 h 421094"/>
                <a:gd name="connsiteX4" fmla="*/ 407844 w 421095"/>
                <a:gd name="connsiteY4" fmla="*/ 213964 h 421094"/>
                <a:gd name="connsiteX5" fmla="*/ 213964 w 421095"/>
                <a:gd name="connsiteY5" fmla="*/ 407843 h 421094"/>
                <a:gd name="connsiteX6" fmla="*/ 20085 w 421095"/>
                <a:gd name="connsiteY6" fmla="*/ 213964 h 421094"/>
                <a:gd name="connsiteX7" fmla="*/ 89390 w 421095"/>
                <a:gd name="connsiteY7" fmla="*/ 65704 h 421094"/>
                <a:gd name="connsiteX8" fmla="*/ 89390 w 421095"/>
                <a:gd name="connsiteY8" fmla="*/ 47281 h 421094"/>
                <a:gd name="connsiteX9" fmla="*/ 6049 w 421095"/>
                <a:gd name="connsiteY9" fmla="*/ 213964 h 421094"/>
                <a:gd name="connsiteX10" fmla="*/ 213964 w 421095"/>
                <a:gd name="connsiteY10" fmla="*/ 421880 h 421094"/>
                <a:gd name="connsiteX11" fmla="*/ 421880 w 421095"/>
                <a:gd name="connsiteY11" fmla="*/ 213964 h 421094"/>
                <a:gd name="connsiteX12" fmla="*/ 213964 w 421095"/>
                <a:gd name="connsiteY12" fmla="*/ 6049 h 4210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421095" h="421094">
                  <a:moveTo>
                    <a:pt x="213964" y="6049"/>
                  </a:moveTo>
                  <a:cubicBezTo>
                    <a:pt x="210455" y="6049"/>
                    <a:pt x="206946" y="6049"/>
                    <a:pt x="204314" y="6049"/>
                  </a:cubicBezTo>
                  <a:lnTo>
                    <a:pt x="204314" y="20085"/>
                  </a:lnTo>
                  <a:cubicBezTo>
                    <a:pt x="207823" y="20085"/>
                    <a:pt x="211333" y="20085"/>
                    <a:pt x="213964" y="20085"/>
                  </a:cubicBezTo>
                  <a:cubicBezTo>
                    <a:pt x="320993" y="20085"/>
                    <a:pt x="407844" y="106936"/>
                    <a:pt x="407844" y="213964"/>
                  </a:cubicBezTo>
                  <a:cubicBezTo>
                    <a:pt x="407844" y="320992"/>
                    <a:pt x="320993" y="407843"/>
                    <a:pt x="213964" y="407843"/>
                  </a:cubicBezTo>
                  <a:cubicBezTo>
                    <a:pt x="106936" y="407843"/>
                    <a:pt x="20085" y="320992"/>
                    <a:pt x="20085" y="213964"/>
                  </a:cubicBezTo>
                  <a:cubicBezTo>
                    <a:pt x="20085" y="154309"/>
                    <a:pt x="47281" y="101672"/>
                    <a:pt x="89390" y="65704"/>
                  </a:cubicBezTo>
                  <a:lnTo>
                    <a:pt x="89390" y="47281"/>
                  </a:lnTo>
                  <a:cubicBezTo>
                    <a:pt x="39385" y="85004"/>
                    <a:pt x="6049" y="145536"/>
                    <a:pt x="6049" y="213964"/>
                  </a:cubicBezTo>
                  <a:cubicBezTo>
                    <a:pt x="6049" y="328888"/>
                    <a:pt x="99041" y="421880"/>
                    <a:pt x="213964" y="421880"/>
                  </a:cubicBezTo>
                  <a:cubicBezTo>
                    <a:pt x="328888" y="421880"/>
                    <a:pt x="421880" y="328888"/>
                    <a:pt x="421880" y="213964"/>
                  </a:cubicBezTo>
                  <a:cubicBezTo>
                    <a:pt x="421880" y="99040"/>
                    <a:pt x="328888" y="6049"/>
                    <a:pt x="213964" y="6049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6" name="Freeform: Shape 105">
              <a:extLst>
                <a:ext uri="{FF2B5EF4-FFF2-40B4-BE49-F238E27FC236}">
                  <a16:creationId xmlns:a16="http://schemas.microsoft.com/office/drawing/2014/main" id="{4C5FF4BC-B5E2-4869-AF07-4CF834EF4B45}"/>
                </a:ext>
              </a:extLst>
            </p:cNvPr>
            <p:cNvSpPr/>
            <p:nvPr/>
          </p:nvSpPr>
          <p:spPr>
            <a:xfrm>
              <a:off x="6361402" y="905562"/>
              <a:ext cx="17546" cy="52637"/>
            </a:xfrm>
            <a:custGeom>
              <a:avLst/>
              <a:gdLst>
                <a:gd name="connsiteX0" fmla="*/ 6049 w 17545"/>
                <a:gd name="connsiteY0" fmla="*/ 48158 h 52636"/>
                <a:gd name="connsiteX1" fmla="*/ 14822 w 17545"/>
                <a:gd name="connsiteY1" fmla="*/ 34122 h 52636"/>
                <a:gd name="connsiteX2" fmla="*/ 14822 w 17545"/>
                <a:gd name="connsiteY2" fmla="*/ 6049 h 52636"/>
                <a:gd name="connsiteX3" fmla="*/ 6049 w 17545"/>
                <a:gd name="connsiteY3" fmla="*/ 6049 h 52636"/>
                <a:gd name="connsiteX4" fmla="*/ 6049 w 17545"/>
                <a:gd name="connsiteY4" fmla="*/ 48158 h 52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52636">
                  <a:moveTo>
                    <a:pt x="6049" y="48158"/>
                  </a:moveTo>
                  <a:cubicBezTo>
                    <a:pt x="9558" y="43772"/>
                    <a:pt x="12190" y="39385"/>
                    <a:pt x="14822" y="34122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48158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7" name="Freeform: Shape 106">
              <a:extLst>
                <a:ext uri="{FF2B5EF4-FFF2-40B4-BE49-F238E27FC236}">
                  <a16:creationId xmlns:a16="http://schemas.microsoft.com/office/drawing/2014/main" id="{F65761EB-C850-4807-A540-0D384E884CFB}"/>
                </a:ext>
              </a:extLst>
            </p:cNvPr>
            <p:cNvSpPr/>
            <p:nvPr/>
          </p:nvSpPr>
          <p:spPr>
            <a:xfrm>
              <a:off x="6362280" y="883630"/>
              <a:ext cx="35091" cy="17546"/>
            </a:xfrm>
            <a:custGeom>
              <a:avLst/>
              <a:gdLst>
                <a:gd name="connsiteX0" fmla="*/ 32367 w 35091"/>
                <a:gd name="connsiteY0" fmla="*/ 18331 h 17545"/>
                <a:gd name="connsiteX1" fmla="*/ 35876 w 35091"/>
                <a:gd name="connsiteY1" fmla="*/ 6049 h 17545"/>
                <a:gd name="connsiteX2" fmla="*/ 6049 w 35091"/>
                <a:gd name="connsiteY2" fmla="*/ 6049 h 17545"/>
                <a:gd name="connsiteX3" fmla="*/ 6049 w 35091"/>
                <a:gd name="connsiteY3" fmla="*/ 13067 h 17545"/>
                <a:gd name="connsiteX4" fmla="*/ 10435 w 35091"/>
                <a:gd name="connsiteY4" fmla="*/ 13067 h 17545"/>
                <a:gd name="connsiteX5" fmla="*/ 32367 w 35091"/>
                <a:gd name="connsiteY5" fmla="*/ 18331 h 17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5091" h="17545">
                  <a:moveTo>
                    <a:pt x="32367" y="18331"/>
                  </a:moveTo>
                  <a:cubicBezTo>
                    <a:pt x="33244" y="13944"/>
                    <a:pt x="34999" y="10435"/>
                    <a:pt x="35876" y="6049"/>
                  </a:cubicBezTo>
                  <a:lnTo>
                    <a:pt x="6049" y="6049"/>
                  </a:lnTo>
                  <a:lnTo>
                    <a:pt x="6049" y="13067"/>
                  </a:lnTo>
                  <a:lnTo>
                    <a:pt x="10435" y="13067"/>
                  </a:lnTo>
                  <a:cubicBezTo>
                    <a:pt x="18331" y="13067"/>
                    <a:pt x="27103" y="13067"/>
                    <a:pt x="32367" y="18331"/>
                  </a:cubicBezTo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8" name="Freeform: Shape 107">
              <a:extLst>
                <a:ext uri="{FF2B5EF4-FFF2-40B4-BE49-F238E27FC236}">
                  <a16:creationId xmlns:a16="http://schemas.microsoft.com/office/drawing/2014/main" id="{449205B5-A05B-4531-A36C-22F2FDC16C20}"/>
                </a:ext>
              </a:extLst>
            </p:cNvPr>
            <p:cNvSpPr/>
            <p:nvPr/>
          </p:nvSpPr>
          <p:spPr>
            <a:xfrm>
              <a:off x="6178928" y="882753"/>
              <a:ext cx="17546" cy="87728"/>
            </a:xfrm>
            <a:custGeom>
              <a:avLst/>
              <a:gdLst>
                <a:gd name="connsiteX0" fmla="*/ 6049 w 17545"/>
                <a:gd name="connsiteY0" fmla="*/ 6049 h 87728"/>
                <a:gd name="connsiteX1" fmla="*/ 13944 w 17545"/>
                <a:gd name="connsiteY1" fmla="*/ 6049 h 87728"/>
                <a:gd name="connsiteX2" fmla="*/ 13944 w 17545"/>
                <a:gd name="connsiteY2" fmla="*/ 89390 h 87728"/>
                <a:gd name="connsiteX3" fmla="*/ 6049 w 17545"/>
                <a:gd name="connsiteY3" fmla="*/ 89390 h 877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545" h="87728">
                  <a:moveTo>
                    <a:pt x="6049" y="6049"/>
                  </a:moveTo>
                  <a:lnTo>
                    <a:pt x="13944" y="6049"/>
                  </a:lnTo>
                  <a:lnTo>
                    <a:pt x="13944" y="89390"/>
                  </a:lnTo>
                  <a:lnTo>
                    <a:pt x="6049" y="89390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09" name="Freeform: Shape 108">
              <a:extLst>
                <a:ext uri="{FF2B5EF4-FFF2-40B4-BE49-F238E27FC236}">
                  <a16:creationId xmlns:a16="http://schemas.microsoft.com/office/drawing/2014/main" id="{DF27FE59-2C83-403C-988B-FC7CAB4734FA}"/>
                </a:ext>
              </a:extLst>
            </p:cNvPr>
            <p:cNvSpPr/>
            <p:nvPr/>
          </p:nvSpPr>
          <p:spPr>
            <a:xfrm>
              <a:off x="6152609" y="859943"/>
              <a:ext cx="254412" cy="166683"/>
            </a:xfrm>
            <a:custGeom>
              <a:avLst/>
              <a:gdLst>
                <a:gd name="connsiteX0" fmla="*/ 184137 w 254411"/>
                <a:gd name="connsiteY0" fmla="*/ 71845 h 166683"/>
                <a:gd name="connsiteX1" fmla="*/ 175364 w 254411"/>
                <a:gd name="connsiteY1" fmla="*/ 63072 h 166683"/>
                <a:gd name="connsiteX2" fmla="*/ 184137 w 254411"/>
                <a:gd name="connsiteY2" fmla="*/ 17453 h 166683"/>
                <a:gd name="connsiteX3" fmla="*/ 184137 w 254411"/>
                <a:gd name="connsiteY3" fmla="*/ 71845 h 166683"/>
                <a:gd name="connsiteX4" fmla="*/ 13944 w 254411"/>
                <a:gd name="connsiteY4" fmla="*/ 13067 h 166683"/>
                <a:gd name="connsiteX5" fmla="*/ 41140 w 254411"/>
                <a:gd name="connsiteY5" fmla="*/ 13067 h 166683"/>
                <a:gd name="connsiteX6" fmla="*/ 56054 w 254411"/>
                <a:gd name="connsiteY6" fmla="*/ 17453 h 166683"/>
                <a:gd name="connsiteX7" fmla="*/ 60440 w 254411"/>
                <a:gd name="connsiteY7" fmla="*/ 32367 h 166683"/>
                <a:gd name="connsiteX8" fmla="*/ 60440 w 254411"/>
                <a:gd name="connsiteY8" fmla="*/ 109568 h 166683"/>
                <a:gd name="connsiteX9" fmla="*/ 56054 w 254411"/>
                <a:gd name="connsiteY9" fmla="*/ 124482 h 166683"/>
                <a:gd name="connsiteX10" fmla="*/ 37631 w 254411"/>
                <a:gd name="connsiteY10" fmla="*/ 128868 h 166683"/>
                <a:gd name="connsiteX11" fmla="*/ 33244 w 254411"/>
                <a:gd name="connsiteY11" fmla="*/ 128868 h 166683"/>
                <a:gd name="connsiteX12" fmla="*/ 33244 w 254411"/>
                <a:gd name="connsiteY12" fmla="*/ 165714 h 166683"/>
                <a:gd name="connsiteX13" fmla="*/ 41140 w 254411"/>
                <a:gd name="connsiteY13" fmla="*/ 167468 h 166683"/>
                <a:gd name="connsiteX14" fmla="*/ 41140 w 254411"/>
                <a:gd name="connsiteY14" fmla="*/ 137641 h 166683"/>
                <a:gd name="connsiteX15" fmla="*/ 65704 w 254411"/>
                <a:gd name="connsiteY15" fmla="*/ 124482 h 166683"/>
                <a:gd name="connsiteX16" fmla="*/ 65704 w 254411"/>
                <a:gd name="connsiteY16" fmla="*/ 169223 h 166683"/>
                <a:gd name="connsiteX17" fmla="*/ 68336 w 254411"/>
                <a:gd name="connsiteY17" fmla="*/ 169223 h 166683"/>
                <a:gd name="connsiteX18" fmla="*/ 73599 w 254411"/>
                <a:gd name="connsiteY18" fmla="*/ 169223 h 166683"/>
                <a:gd name="connsiteX19" fmla="*/ 73599 w 254411"/>
                <a:gd name="connsiteY19" fmla="*/ 33244 h 166683"/>
                <a:gd name="connsiteX20" fmla="*/ 77986 w 254411"/>
                <a:gd name="connsiteY20" fmla="*/ 18331 h 166683"/>
                <a:gd name="connsiteX21" fmla="*/ 92900 w 254411"/>
                <a:gd name="connsiteY21" fmla="*/ 13944 h 166683"/>
                <a:gd name="connsiteX22" fmla="*/ 115709 w 254411"/>
                <a:gd name="connsiteY22" fmla="*/ 18331 h 166683"/>
                <a:gd name="connsiteX23" fmla="*/ 120095 w 254411"/>
                <a:gd name="connsiteY23" fmla="*/ 33244 h 166683"/>
                <a:gd name="connsiteX24" fmla="*/ 120095 w 254411"/>
                <a:gd name="connsiteY24" fmla="*/ 72722 h 166683"/>
                <a:gd name="connsiteX25" fmla="*/ 101672 w 254411"/>
                <a:gd name="connsiteY25" fmla="*/ 72722 h 166683"/>
                <a:gd name="connsiteX26" fmla="*/ 101672 w 254411"/>
                <a:gd name="connsiteY26" fmla="*/ 30613 h 166683"/>
                <a:gd name="connsiteX27" fmla="*/ 93777 w 254411"/>
                <a:gd name="connsiteY27" fmla="*/ 30613 h 166683"/>
                <a:gd name="connsiteX28" fmla="*/ 93777 w 254411"/>
                <a:gd name="connsiteY28" fmla="*/ 166591 h 166683"/>
                <a:gd name="connsiteX29" fmla="*/ 101672 w 254411"/>
                <a:gd name="connsiteY29" fmla="*/ 165714 h 166683"/>
                <a:gd name="connsiteX30" fmla="*/ 101672 w 254411"/>
                <a:gd name="connsiteY30" fmla="*/ 81495 h 166683"/>
                <a:gd name="connsiteX31" fmla="*/ 120095 w 254411"/>
                <a:gd name="connsiteY31" fmla="*/ 81495 h 166683"/>
                <a:gd name="connsiteX32" fmla="*/ 120095 w 254411"/>
                <a:gd name="connsiteY32" fmla="*/ 161327 h 166683"/>
                <a:gd name="connsiteX33" fmla="*/ 131500 w 254411"/>
                <a:gd name="connsiteY33" fmla="*/ 157818 h 166683"/>
                <a:gd name="connsiteX34" fmla="*/ 131500 w 254411"/>
                <a:gd name="connsiteY34" fmla="*/ 84127 h 166683"/>
                <a:gd name="connsiteX35" fmla="*/ 142027 w 254411"/>
                <a:gd name="connsiteY35" fmla="*/ 66581 h 166683"/>
                <a:gd name="connsiteX36" fmla="*/ 132377 w 254411"/>
                <a:gd name="connsiteY36" fmla="*/ 15699 h 166683"/>
                <a:gd name="connsiteX37" fmla="*/ 150800 w 254411"/>
                <a:gd name="connsiteY37" fmla="*/ 15699 h 166683"/>
                <a:gd name="connsiteX38" fmla="*/ 154309 w 254411"/>
                <a:gd name="connsiteY38" fmla="*/ 71845 h 166683"/>
                <a:gd name="connsiteX39" fmla="*/ 156941 w 254411"/>
                <a:gd name="connsiteY39" fmla="*/ 71845 h 166683"/>
                <a:gd name="connsiteX40" fmla="*/ 160450 w 254411"/>
                <a:gd name="connsiteY40" fmla="*/ 15699 h 166683"/>
                <a:gd name="connsiteX41" fmla="*/ 180628 w 254411"/>
                <a:gd name="connsiteY41" fmla="*/ 15699 h 166683"/>
                <a:gd name="connsiteX42" fmla="*/ 167469 w 254411"/>
                <a:gd name="connsiteY42" fmla="*/ 66581 h 166683"/>
                <a:gd name="connsiteX43" fmla="*/ 177996 w 254411"/>
                <a:gd name="connsiteY43" fmla="*/ 84127 h 166683"/>
                <a:gd name="connsiteX44" fmla="*/ 177996 w 254411"/>
                <a:gd name="connsiteY44" fmla="*/ 131500 h 166683"/>
                <a:gd name="connsiteX45" fmla="*/ 193787 w 254411"/>
                <a:gd name="connsiteY45" fmla="*/ 118341 h 166683"/>
                <a:gd name="connsiteX46" fmla="*/ 193787 w 254411"/>
                <a:gd name="connsiteY46" fmla="*/ 14821 h 166683"/>
                <a:gd name="connsiteX47" fmla="*/ 249056 w 254411"/>
                <a:gd name="connsiteY47" fmla="*/ 14821 h 166683"/>
                <a:gd name="connsiteX48" fmla="*/ 249933 w 254411"/>
                <a:gd name="connsiteY48" fmla="*/ 7803 h 166683"/>
                <a:gd name="connsiteX49" fmla="*/ 120973 w 254411"/>
                <a:gd name="connsiteY49" fmla="*/ 7803 h 166683"/>
                <a:gd name="connsiteX50" fmla="*/ 122727 w 254411"/>
                <a:gd name="connsiteY50" fmla="*/ 17453 h 166683"/>
                <a:gd name="connsiteX51" fmla="*/ 99918 w 254411"/>
                <a:gd name="connsiteY51" fmla="*/ 6049 h 166683"/>
                <a:gd name="connsiteX52" fmla="*/ 92022 w 254411"/>
                <a:gd name="connsiteY52" fmla="*/ 6049 h 166683"/>
                <a:gd name="connsiteX53" fmla="*/ 66581 w 254411"/>
                <a:gd name="connsiteY53" fmla="*/ 22717 h 166683"/>
                <a:gd name="connsiteX54" fmla="*/ 41140 w 254411"/>
                <a:gd name="connsiteY54" fmla="*/ 6049 h 166683"/>
                <a:gd name="connsiteX55" fmla="*/ 6049 w 254411"/>
                <a:gd name="connsiteY55" fmla="*/ 6049 h 166683"/>
                <a:gd name="connsiteX56" fmla="*/ 6049 w 254411"/>
                <a:gd name="connsiteY56" fmla="*/ 156941 h 166683"/>
                <a:gd name="connsiteX57" fmla="*/ 13944 w 254411"/>
                <a:gd name="connsiteY57" fmla="*/ 159573 h 166683"/>
                <a:gd name="connsiteX58" fmla="*/ 13944 w 254411"/>
                <a:gd name="connsiteY58" fmla="*/ 13067 h 1666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</a:cxnLst>
              <a:rect l="l" t="t" r="r" b="b"/>
              <a:pathLst>
                <a:path w="254411" h="166683">
                  <a:moveTo>
                    <a:pt x="184137" y="71845"/>
                  </a:moveTo>
                  <a:lnTo>
                    <a:pt x="175364" y="63072"/>
                  </a:lnTo>
                  <a:lnTo>
                    <a:pt x="184137" y="17453"/>
                  </a:lnTo>
                  <a:lnTo>
                    <a:pt x="184137" y="71845"/>
                  </a:lnTo>
                  <a:close/>
                  <a:moveTo>
                    <a:pt x="13944" y="13067"/>
                  </a:moveTo>
                  <a:lnTo>
                    <a:pt x="41140" y="13067"/>
                  </a:lnTo>
                  <a:cubicBezTo>
                    <a:pt x="48158" y="13067"/>
                    <a:pt x="53422" y="14821"/>
                    <a:pt x="56054" y="17453"/>
                  </a:cubicBezTo>
                  <a:cubicBezTo>
                    <a:pt x="58686" y="20085"/>
                    <a:pt x="60440" y="25349"/>
                    <a:pt x="60440" y="32367"/>
                  </a:cubicBezTo>
                  <a:lnTo>
                    <a:pt x="60440" y="109568"/>
                  </a:lnTo>
                  <a:cubicBezTo>
                    <a:pt x="60440" y="116586"/>
                    <a:pt x="59563" y="121850"/>
                    <a:pt x="56054" y="124482"/>
                  </a:cubicBezTo>
                  <a:cubicBezTo>
                    <a:pt x="51667" y="128868"/>
                    <a:pt x="43772" y="128868"/>
                    <a:pt x="37631" y="128868"/>
                  </a:cubicBezTo>
                  <a:cubicBezTo>
                    <a:pt x="35876" y="128868"/>
                    <a:pt x="34999" y="128868"/>
                    <a:pt x="33244" y="128868"/>
                  </a:cubicBezTo>
                  <a:lnTo>
                    <a:pt x="33244" y="165714"/>
                  </a:lnTo>
                  <a:cubicBezTo>
                    <a:pt x="35876" y="166591"/>
                    <a:pt x="38508" y="166591"/>
                    <a:pt x="41140" y="167468"/>
                  </a:cubicBezTo>
                  <a:lnTo>
                    <a:pt x="41140" y="137641"/>
                  </a:lnTo>
                  <a:cubicBezTo>
                    <a:pt x="53422" y="137641"/>
                    <a:pt x="62195" y="133254"/>
                    <a:pt x="65704" y="124482"/>
                  </a:cubicBezTo>
                  <a:lnTo>
                    <a:pt x="65704" y="169223"/>
                  </a:lnTo>
                  <a:cubicBezTo>
                    <a:pt x="66581" y="169223"/>
                    <a:pt x="67458" y="169223"/>
                    <a:pt x="68336" y="169223"/>
                  </a:cubicBezTo>
                  <a:cubicBezTo>
                    <a:pt x="70090" y="169223"/>
                    <a:pt x="71845" y="169223"/>
                    <a:pt x="73599" y="169223"/>
                  </a:cubicBezTo>
                  <a:lnTo>
                    <a:pt x="73599" y="33244"/>
                  </a:lnTo>
                  <a:cubicBezTo>
                    <a:pt x="73599" y="26226"/>
                    <a:pt x="75354" y="20962"/>
                    <a:pt x="77986" y="18331"/>
                  </a:cubicBezTo>
                  <a:cubicBezTo>
                    <a:pt x="80618" y="15699"/>
                    <a:pt x="85881" y="13944"/>
                    <a:pt x="92900" y="13944"/>
                  </a:cubicBezTo>
                  <a:cubicBezTo>
                    <a:pt x="99918" y="13944"/>
                    <a:pt x="110445" y="13067"/>
                    <a:pt x="115709" y="18331"/>
                  </a:cubicBezTo>
                  <a:cubicBezTo>
                    <a:pt x="118341" y="20962"/>
                    <a:pt x="120095" y="26226"/>
                    <a:pt x="120095" y="33244"/>
                  </a:cubicBezTo>
                  <a:lnTo>
                    <a:pt x="120095" y="72722"/>
                  </a:lnTo>
                  <a:lnTo>
                    <a:pt x="101672" y="72722"/>
                  </a:lnTo>
                  <a:lnTo>
                    <a:pt x="101672" y="30613"/>
                  </a:lnTo>
                  <a:lnTo>
                    <a:pt x="93777" y="30613"/>
                  </a:lnTo>
                  <a:lnTo>
                    <a:pt x="93777" y="166591"/>
                  </a:lnTo>
                  <a:cubicBezTo>
                    <a:pt x="96409" y="166591"/>
                    <a:pt x="99041" y="165714"/>
                    <a:pt x="101672" y="165714"/>
                  </a:cubicBezTo>
                  <a:lnTo>
                    <a:pt x="101672" y="81495"/>
                  </a:lnTo>
                  <a:lnTo>
                    <a:pt x="120095" y="81495"/>
                  </a:lnTo>
                  <a:lnTo>
                    <a:pt x="120095" y="161327"/>
                  </a:lnTo>
                  <a:cubicBezTo>
                    <a:pt x="123604" y="160450"/>
                    <a:pt x="127991" y="158695"/>
                    <a:pt x="131500" y="157818"/>
                  </a:cubicBezTo>
                  <a:lnTo>
                    <a:pt x="131500" y="84127"/>
                  </a:lnTo>
                  <a:cubicBezTo>
                    <a:pt x="131500" y="76231"/>
                    <a:pt x="133255" y="69213"/>
                    <a:pt x="142027" y="66581"/>
                  </a:cubicBezTo>
                  <a:lnTo>
                    <a:pt x="132377" y="15699"/>
                  </a:lnTo>
                  <a:lnTo>
                    <a:pt x="150800" y="15699"/>
                  </a:lnTo>
                  <a:lnTo>
                    <a:pt x="154309" y="71845"/>
                  </a:lnTo>
                  <a:lnTo>
                    <a:pt x="156941" y="71845"/>
                  </a:lnTo>
                  <a:lnTo>
                    <a:pt x="160450" y="15699"/>
                  </a:lnTo>
                  <a:lnTo>
                    <a:pt x="180628" y="15699"/>
                  </a:lnTo>
                  <a:lnTo>
                    <a:pt x="167469" y="66581"/>
                  </a:lnTo>
                  <a:cubicBezTo>
                    <a:pt x="176241" y="70090"/>
                    <a:pt x="177996" y="75354"/>
                    <a:pt x="177996" y="84127"/>
                  </a:cubicBezTo>
                  <a:lnTo>
                    <a:pt x="177996" y="131500"/>
                  </a:lnTo>
                  <a:cubicBezTo>
                    <a:pt x="183260" y="127113"/>
                    <a:pt x="188523" y="122727"/>
                    <a:pt x="193787" y="118341"/>
                  </a:cubicBezTo>
                  <a:lnTo>
                    <a:pt x="193787" y="14821"/>
                  </a:lnTo>
                  <a:lnTo>
                    <a:pt x="249056" y="14821"/>
                  </a:lnTo>
                  <a:cubicBezTo>
                    <a:pt x="249056" y="12190"/>
                    <a:pt x="249933" y="9558"/>
                    <a:pt x="249933" y="7803"/>
                  </a:cubicBezTo>
                  <a:lnTo>
                    <a:pt x="120973" y="7803"/>
                  </a:lnTo>
                  <a:lnTo>
                    <a:pt x="122727" y="17453"/>
                  </a:lnTo>
                  <a:cubicBezTo>
                    <a:pt x="118341" y="10435"/>
                    <a:pt x="111322" y="6049"/>
                    <a:pt x="99918" y="6049"/>
                  </a:cubicBezTo>
                  <a:lnTo>
                    <a:pt x="92022" y="6049"/>
                  </a:lnTo>
                  <a:cubicBezTo>
                    <a:pt x="77986" y="6049"/>
                    <a:pt x="70090" y="11312"/>
                    <a:pt x="66581" y="22717"/>
                  </a:cubicBezTo>
                  <a:cubicBezTo>
                    <a:pt x="63949" y="11312"/>
                    <a:pt x="55176" y="6049"/>
                    <a:pt x="41140" y="6049"/>
                  </a:cubicBezTo>
                  <a:lnTo>
                    <a:pt x="6049" y="6049"/>
                  </a:lnTo>
                  <a:lnTo>
                    <a:pt x="6049" y="156941"/>
                  </a:lnTo>
                  <a:cubicBezTo>
                    <a:pt x="8681" y="157818"/>
                    <a:pt x="11312" y="158695"/>
                    <a:pt x="13944" y="159573"/>
                  </a:cubicBezTo>
                  <a:lnTo>
                    <a:pt x="13944" y="13067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0" name="Freeform: Shape 109">
              <a:extLst>
                <a:ext uri="{FF2B5EF4-FFF2-40B4-BE49-F238E27FC236}">
                  <a16:creationId xmlns:a16="http://schemas.microsoft.com/office/drawing/2014/main" id="{8B380CA0-002A-46F6-828C-CDB22E7E1C46}"/>
                </a:ext>
              </a:extLst>
            </p:cNvPr>
            <p:cNvSpPr/>
            <p:nvPr/>
          </p:nvSpPr>
          <p:spPr>
            <a:xfrm>
              <a:off x="6295606" y="935389"/>
              <a:ext cx="17546" cy="78955"/>
            </a:xfrm>
            <a:custGeom>
              <a:avLst/>
              <a:gdLst>
                <a:gd name="connsiteX0" fmla="*/ 6049 w 17545"/>
                <a:gd name="connsiteY0" fmla="*/ 73599 h 78955"/>
                <a:gd name="connsiteX1" fmla="*/ 14822 w 17545"/>
                <a:gd name="connsiteY1" fmla="*/ 69213 h 78955"/>
                <a:gd name="connsiteX2" fmla="*/ 14822 w 17545"/>
                <a:gd name="connsiteY2" fmla="*/ 6049 h 78955"/>
                <a:gd name="connsiteX3" fmla="*/ 6049 w 17545"/>
                <a:gd name="connsiteY3" fmla="*/ 6049 h 78955"/>
                <a:gd name="connsiteX4" fmla="*/ 6049 w 17545"/>
                <a:gd name="connsiteY4" fmla="*/ 73599 h 789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7545" h="78955">
                  <a:moveTo>
                    <a:pt x="6049" y="73599"/>
                  </a:moveTo>
                  <a:cubicBezTo>
                    <a:pt x="8681" y="71845"/>
                    <a:pt x="11312" y="70967"/>
                    <a:pt x="14822" y="69213"/>
                  </a:cubicBezTo>
                  <a:lnTo>
                    <a:pt x="14822" y="6049"/>
                  </a:lnTo>
                  <a:lnTo>
                    <a:pt x="6049" y="6049"/>
                  </a:lnTo>
                  <a:lnTo>
                    <a:pt x="6049" y="73599"/>
                  </a:lnTo>
                  <a:close/>
                </a:path>
              </a:pathLst>
            </a:custGeom>
            <a:solidFill>
              <a:srgbClr val="FFFFFF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1" name="Freeform: Shape 110">
              <a:extLst>
                <a:ext uri="{FF2B5EF4-FFF2-40B4-BE49-F238E27FC236}">
                  <a16:creationId xmlns:a16="http://schemas.microsoft.com/office/drawing/2014/main" id="{D80360EE-D253-438D-8EFB-F2CB7D77ED2F}"/>
                </a:ext>
              </a:extLst>
            </p:cNvPr>
            <p:cNvSpPr/>
            <p:nvPr/>
          </p:nvSpPr>
          <p:spPr>
            <a:xfrm>
              <a:off x="8285281" y="528331"/>
              <a:ext cx="114047" cy="631642"/>
            </a:xfrm>
            <a:custGeom>
              <a:avLst/>
              <a:gdLst>
                <a:gd name="connsiteX0" fmla="*/ 6049 w 114046"/>
                <a:gd name="connsiteY0" fmla="*/ 6049 h 631641"/>
                <a:gd name="connsiteX1" fmla="*/ 110445 w 114046"/>
                <a:gd name="connsiteY1" fmla="*/ 6049 h 631641"/>
                <a:gd name="connsiteX2" fmla="*/ 110445 w 114046"/>
                <a:gd name="connsiteY2" fmla="*/ 628040 h 631641"/>
                <a:gd name="connsiteX3" fmla="*/ 6049 w 114046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4046" h="631641">
                  <a:moveTo>
                    <a:pt x="6049" y="6049"/>
                  </a:moveTo>
                  <a:lnTo>
                    <a:pt x="110445" y="6049"/>
                  </a:lnTo>
                  <a:lnTo>
                    <a:pt x="110445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2" name="Freeform: Shape 111">
              <a:extLst>
                <a:ext uri="{FF2B5EF4-FFF2-40B4-BE49-F238E27FC236}">
                  <a16:creationId xmlns:a16="http://schemas.microsoft.com/office/drawing/2014/main" id="{97D3A37E-63BE-4809-9181-47114DBE22F5}"/>
                </a:ext>
              </a:extLst>
            </p:cNvPr>
            <p:cNvSpPr/>
            <p:nvPr/>
          </p:nvSpPr>
          <p:spPr>
            <a:xfrm>
              <a:off x="8109198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8341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3" name="Freeform: Shape 112">
              <a:extLst>
                <a:ext uri="{FF2B5EF4-FFF2-40B4-BE49-F238E27FC236}">
                  <a16:creationId xmlns:a16="http://schemas.microsoft.com/office/drawing/2014/main" id="{C5E326D9-F812-48AE-9BBC-6D8B70A46002}"/>
                </a:ext>
              </a:extLst>
            </p:cNvPr>
            <p:cNvSpPr/>
            <p:nvPr/>
          </p:nvSpPr>
          <p:spPr>
            <a:xfrm>
              <a:off x="8494074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6AA74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4" name="Freeform: Shape 113">
              <a:extLst>
                <a:ext uri="{FF2B5EF4-FFF2-40B4-BE49-F238E27FC236}">
                  <a16:creationId xmlns:a16="http://schemas.microsoft.com/office/drawing/2014/main" id="{C904F0A2-D731-4026-AD94-DEC82609FB3D}"/>
                </a:ext>
              </a:extLst>
            </p:cNvPr>
            <p:cNvSpPr/>
            <p:nvPr/>
          </p:nvSpPr>
          <p:spPr>
            <a:xfrm>
              <a:off x="8701990" y="528331"/>
              <a:ext cx="78955" cy="631642"/>
            </a:xfrm>
            <a:custGeom>
              <a:avLst/>
              <a:gdLst>
                <a:gd name="connsiteX0" fmla="*/ 6049 w 78955"/>
                <a:gd name="connsiteY0" fmla="*/ 6049 h 631641"/>
                <a:gd name="connsiteX1" fmla="*/ 75354 w 78955"/>
                <a:gd name="connsiteY1" fmla="*/ 6049 h 631641"/>
                <a:gd name="connsiteX2" fmla="*/ 75354 w 78955"/>
                <a:gd name="connsiteY2" fmla="*/ 628040 h 631641"/>
                <a:gd name="connsiteX3" fmla="*/ 6049 w 78955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8955" h="631641">
                  <a:moveTo>
                    <a:pt x="6049" y="6049"/>
                  </a:moveTo>
                  <a:lnTo>
                    <a:pt x="75354" y="6049"/>
                  </a:lnTo>
                  <a:lnTo>
                    <a:pt x="75354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5" name="Freeform: Shape 114">
              <a:extLst>
                <a:ext uri="{FF2B5EF4-FFF2-40B4-BE49-F238E27FC236}">
                  <a16:creationId xmlns:a16="http://schemas.microsoft.com/office/drawing/2014/main" id="{BE18D693-8C93-47EE-9CA1-0DF337FB3FBF}"/>
                </a:ext>
              </a:extLst>
            </p:cNvPr>
            <p:cNvSpPr/>
            <p:nvPr/>
          </p:nvSpPr>
          <p:spPr>
            <a:xfrm>
              <a:off x="83896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A6CE39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6" name="Freeform: Shape 115">
              <a:extLst>
                <a:ext uri="{FF2B5EF4-FFF2-40B4-BE49-F238E27FC236}">
                  <a16:creationId xmlns:a16="http://schemas.microsoft.com/office/drawing/2014/main" id="{E84E4158-14BE-4BF8-BD04-C769D8047DE8}"/>
                </a:ext>
              </a:extLst>
            </p:cNvPr>
            <p:cNvSpPr/>
            <p:nvPr/>
          </p:nvSpPr>
          <p:spPr>
            <a:xfrm>
              <a:off x="8215976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245F34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7" name="Freeform: Shape 116">
              <a:extLst>
                <a:ext uri="{FF2B5EF4-FFF2-40B4-BE49-F238E27FC236}">
                  <a16:creationId xmlns:a16="http://schemas.microsoft.com/office/drawing/2014/main" id="{4C91B4C4-3185-413C-93BB-4F4B9E6ABF32}"/>
                </a:ext>
              </a:extLst>
            </p:cNvPr>
            <p:cNvSpPr/>
            <p:nvPr/>
          </p:nvSpPr>
          <p:spPr>
            <a:xfrm>
              <a:off x="8632684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  <p:sp>
          <p:nvSpPr>
            <p:cNvPr id="118" name="Freeform: Shape 117">
              <a:extLst>
                <a:ext uri="{FF2B5EF4-FFF2-40B4-BE49-F238E27FC236}">
                  <a16:creationId xmlns:a16="http://schemas.microsoft.com/office/drawing/2014/main" id="{FE4B2E2D-27AD-419C-89D6-5885370F8082}"/>
                </a:ext>
              </a:extLst>
            </p:cNvPr>
            <p:cNvSpPr/>
            <p:nvPr/>
          </p:nvSpPr>
          <p:spPr>
            <a:xfrm>
              <a:off x="8841477" y="528331"/>
              <a:ext cx="43864" cy="631642"/>
            </a:xfrm>
            <a:custGeom>
              <a:avLst/>
              <a:gdLst>
                <a:gd name="connsiteX0" fmla="*/ 6049 w 43864"/>
                <a:gd name="connsiteY0" fmla="*/ 6049 h 631641"/>
                <a:gd name="connsiteX1" fmla="*/ 41140 w 43864"/>
                <a:gd name="connsiteY1" fmla="*/ 6049 h 631641"/>
                <a:gd name="connsiteX2" fmla="*/ 41140 w 43864"/>
                <a:gd name="connsiteY2" fmla="*/ 628040 h 631641"/>
                <a:gd name="connsiteX3" fmla="*/ 6049 w 43864"/>
                <a:gd name="connsiteY3" fmla="*/ 628040 h 63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864" h="631641">
                  <a:moveTo>
                    <a:pt x="6049" y="6049"/>
                  </a:moveTo>
                  <a:lnTo>
                    <a:pt x="41140" y="6049"/>
                  </a:lnTo>
                  <a:lnTo>
                    <a:pt x="41140" y="628040"/>
                  </a:lnTo>
                  <a:lnTo>
                    <a:pt x="6049" y="628040"/>
                  </a:lnTo>
                  <a:close/>
                </a:path>
              </a:pathLst>
            </a:custGeom>
            <a:solidFill>
              <a:srgbClr val="FFCB05"/>
            </a:solidFill>
            <a:ln w="875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sz="3571" dirty="0"/>
            </a:p>
          </p:txBody>
        </p:sp>
      </p:grpSp>
    </p:spTree>
    <p:extLst>
      <p:ext uri="{BB962C8B-B14F-4D97-AF65-F5344CB8AC3E}">
        <p14:creationId xmlns:p14="http://schemas.microsoft.com/office/powerpoint/2010/main" val="3126787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</p:sldLayoutIdLst>
  <p:hf hdr="0" ftr="0" dt="0"/>
  <p:txStyles>
    <p:titleStyle>
      <a:lvl1pPr algn="l" defTabSz="1278918" rtl="0" eaLnBrk="1" fontAlgn="base" hangingPunct="1">
        <a:spcBef>
          <a:spcPct val="0"/>
        </a:spcBef>
        <a:spcAft>
          <a:spcPct val="0"/>
        </a:spcAft>
        <a:tabLst>
          <a:tab pos="385489" algn="l"/>
        </a:tabLst>
        <a:defRPr sz="2571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2pPr>
      <a:lvl3pPr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3pPr>
      <a:lvl4pPr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4pPr>
      <a:lvl5pPr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5pPr>
      <a:lvl6pPr marL="653064"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6pPr>
      <a:lvl7pPr marL="1306129"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7pPr>
      <a:lvl8pPr marL="1959193"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8pPr>
      <a:lvl9pPr marL="2612258" algn="l" defTabSz="1278918" rtl="0" eaLnBrk="1" fontAlgn="base" hangingPunct="1">
        <a:spcBef>
          <a:spcPct val="0"/>
        </a:spcBef>
        <a:spcAft>
          <a:spcPct val="0"/>
        </a:spcAft>
        <a:defRPr sz="271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2000" baseline="0">
          <a:solidFill>
            <a:schemeClr val="tx1"/>
          </a:solidFill>
          <a:latin typeface="+mn-lt"/>
          <a:ea typeface="+mn-ea"/>
          <a:cs typeface="+mn-cs"/>
        </a:defRPr>
      </a:lvl1pPr>
      <a:lvl2pPr marL="276645" indent="-274378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•"/>
        <a:defRPr sz="2000" baseline="0">
          <a:solidFill>
            <a:schemeClr val="tx1"/>
          </a:solidFill>
          <a:latin typeface="+mn-lt"/>
        </a:defRPr>
      </a:lvl2pPr>
      <a:lvl3pPr marL="653064" indent="-37415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2000" baseline="0">
          <a:solidFill>
            <a:schemeClr val="tx1"/>
          </a:solidFill>
          <a:latin typeface="+mn-lt"/>
        </a:defRPr>
      </a:lvl3pPr>
      <a:lvl4pPr marL="877556" indent="-222223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Courier New" panose="02070309020205020404" pitchFamily="49" charset="0"/>
        <a:buChar char="o"/>
        <a:defRPr sz="2000" baseline="0">
          <a:solidFill>
            <a:schemeClr val="tx1"/>
          </a:solidFill>
          <a:latin typeface="+mn-lt"/>
        </a:defRPr>
      </a:lvl4pPr>
      <a:lvl5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000" baseline="0">
          <a:solidFill>
            <a:schemeClr val="tx1"/>
          </a:solidFill>
          <a:latin typeface="+mn-lt"/>
        </a:defRPr>
      </a:lvl5pPr>
      <a:lvl6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6pPr>
      <a:lvl7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7pPr>
      <a:lvl8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8pPr>
      <a:lvl9pPr marL="1071026" indent="-185942" algn="l" defTabSz="1278918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285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1pPr>
      <a:lvl2pPr marL="653064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2pPr>
      <a:lvl3pPr marL="1306129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3pPr>
      <a:lvl4pPr marL="1959193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4pPr>
      <a:lvl5pPr marL="2612258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5pPr>
      <a:lvl6pPr marL="3265322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6pPr>
      <a:lvl7pPr marL="3918387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7pPr>
      <a:lvl8pPr marL="4571451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8pPr>
      <a:lvl9pPr marL="5224516" algn="l" defTabSz="1306129" rtl="0" eaLnBrk="1" latinLnBrk="0" hangingPunct="1">
        <a:defRPr sz="257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16.w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2187" y="3216424"/>
            <a:ext cx="6348613" cy="3252679"/>
          </a:xfrm>
        </p:spPr>
        <p:txBody>
          <a:bodyPr>
            <a:noAutofit/>
          </a:bodyPr>
          <a:lstStyle/>
          <a:p>
            <a:pPr algn="ctr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 льготном кредитовании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в рамках Постановления Правительства от 16.05.2020 № 696 </a:t>
            </a:r>
          </a:p>
        </p:txBody>
      </p:sp>
    </p:spTree>
    <p:extLst>
      <p:ext uri="{BB962C8B-B14F-4D97-AF65-F5344CB8AC3E}">
        <p14:creationId xmlns:p14="http://schemas.microsoft.com/office/powerpoint/2010/main" val="2246228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1949" y="568894"/>
            <a:ext cx="8208912" cy="980395"/>
          </a:xfrm>
        </p:spPr>
        <p:txBody>
          <a:bodyPr>
            <a:noAutofit/>
          </a:bodyPr>
          <a:lstStyle/>
          <a:p>
            <a:pPr algn="l"/>
            <a:r>
              <a:rPr lang="ru-RU" sz="16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ложение 2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</a:t>
            </a: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ей российской экономики, наиболее пострадавших в условиях ухудшения ситуации в результате распространения новой </a:t>
            </a:r>
            <a:r>
              <a:rPr lang="ru-RU" sz="1600" b="1" dirty="0" err="1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онавирусной</a:t>
            </a:r>
            <a:r>
              <a:rPr lang="ru-RU" sz="16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фекции</a:t>
            </a:r>
            <a:endParaRPr lang="ru-RU" sz="16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8781808" y="1844346"/>
            <a:ext cx="3987325" cy="2232248"/>
            <a:chOff x="7899410" y="2154217"/>
            <a:chExt cx="3714994" cy="1949490"/>
          </a:xfrm>
        </p:grpSpPr>
        <p:sp>
          <p:nvSpPr>
            <p:cNvPr id="9" name="Скругленный прямоугольник 8"/>
            <p:cNvSpPr/>
            <p:nvPr/>
          </p:nvSpPr>
          <p:spPr>
            <a:xfrm>
              <a:off x="7899410" y="2154217"/>
              <a:ext cx="3714994" cy="1949490"/>
            </a:xfrm>
            <a:prstGeom prst="roundRect">
              <a:avLst>
                <a:gd name="adj" fmla="val 10000"/>
              </a:avLst>
            </a:prstGeom>
            <a:ln w="3175">
              <a:solidFill>
                <a:schemeClr val="accent3">
                  <a:lumMod val="50000"/>
                </a:schemeClr>
              </a:solidFill>
            </a:ln>
          </p:spPr>
          <p:style>
            <a:lnRef idx="2">
              <a:scrgbClr r="0" g="0" b="0"/>
            </a:lnRef>
            <a:fillRef idx="1">
              <a:schemeClr val="accent3">
                <a:alpha val="7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alpha val="7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Скругленный прямоугольник 4"/>
            <p:cNvSpPr txBox="1"/>
            <p:nvPr/>
          </p:nvSpPr>
          <p:spPr>
            <a:xfrm>
              <a:off x="7956511" y="2211316"/>
              <a:ext cx="3600798" cy="183529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ановление Правительства РФ от 03.04.2020 № 434 «Об утверждении перечня отраслей российской экономики, в наибольшей степени пострадавших в условиях ухудшения ситуации в результате распространения новой </a:t>
              </a:r>
              <a:r>
                <a:rPr lang="ru-RU" sz="1600" b="1" dirty="0" err="1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ронавирусной</a:t>
              </a:r>
              <a:r>
                <a:rPr lang="ru-RU" sz="16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инфекции»</a:t>
              </a:r>
            </a:p>
          </p:txBody>
        </p:sp>
      </p:grpSp>
      <p:sp>
        <p:nvSpPr>
          <p:cNvPr id="11" name="Скругленный прямоугольник 47">
            <a:extLst>
              <a:ext uri="{FF2B5EF4-FFF2-40B4-BE49-F238E27FC236}">
                <a16:creationId xmlns:a16="http://schemas.microsoft.com/office/drawing/2014/main" id="{1EA6826B-70F2-4F43-8B4E-770CB7AFA446}"/>
              </a:ext>
            </a:extLst>
          </p:cNvPr>
          <p:cNvSpPr/>
          <p:nvPr/>
        </p:nvSpPr>
        <p:spPr>
          <a:xfrm>
            <a:off x="147826" y="1660704"/>
            <a:ext cx="8373035" cy="310854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>
            <a:spAutoFit/>
          </a:bodyPr>
          <a:lstStyle/>
          <a:p>
            <a:pPr lvl="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Авиаперевозки, аэропортовая деятельность, автоперевозки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рочего сухопутного пассажирского транспорта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автомобильного грузового транспорта и услуги по перевозкам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ассажирского воздушного транспорта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грузового воздушного транспорта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автовокзалов и автостанций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спомогательная, связанная с воздушным транспортом</a:t>
            </a:r>
          </a:p>
          <a:p>
            <a:pPr lvl="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Культура, организация досуга и развлечений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творческая, деятельность в области искусства и организации развлечений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бласти демонстрации кинофильмов</a:t>
            </a:r>
          </a:p>
          <a:p>
            <a:pPr marL="3600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Физкультурно-оздоровительная деятельность и спорт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бласти спорта, отдыха и развлечений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физкультурно-оздоровительная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санаторно-курортных организаций</a:t>
            </a:r>
          </a:p>
        </p:txBody>
      </p:sp>
      <p:sp>
        <p:nvSpPr>
          <p:cNvPr id="12" name="Скругленный прямоугольник 47">
            <a:extLst>
              <a:ext uri="{FF2B5EF4-FFF2-40B4-BE49-F238E27FC236}">
                <a16:creationId xmlns:a16="http://schemas.microsoft.com/office/drawing/2014/main" id="{7540778F-FBD2-4A1D-8C99-A9D782FBA556}"/>
              </a:ext>
            </a:extLst>
          </p:cNvPr>
          <p:cNvSpPr/>
          <p:nvPr/>
        </p:nvSpPr>
        <p:spPr>
          <a:xfrm>
            <a:off x="143815" y="4670401"/>
            <a:ext cx="11773302" cy="440120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square">
            <a:spAutoFit/>
          </a:bodyPr>
          <a:lstStyle/>
          <a:p>
            <a:pPr lvl="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Деятельность туристических агентств и прочих организаций, предоставляющих услуги в сфере туризма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туристических агентств и прочих организаций, предоставляющих услуги в сфере туризма</a:t>
            </a:r>
          </a:p>
          <a:p>
            <a:pPr lvl="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. Гостиничный бизнес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о предоставлению мест для временного проживания</a:t>
            </a:r>
          </a:p>
          <a:p>
            <a:pPr lvl="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. Общественное питание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о предоставлению продуктов питания и напитков</a:t>
            </a:r>
          </a:p>
          <a:p>
            <a:pPr lvl="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. Деятельность организаций дополнительного образования, негосударственных образовательных учреждений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разование дополнительное детей и взрослых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услуг по дневному уходу за детьми</a:t>
            </a:r>
          </a:p>
          <a:p>
            <a:pPr lvl="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. Деятельность по организации конференций и выставок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о организации конференций и выставок</a:t>
            </a:r>
          </a:p>
          <a:p>
            <a:pPr lvl="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 Деятельность по предоставлению бытовых услуг населению (ремонт, стирка, химчистка, услуги парикмахерских и салонов красоты)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компьютеров, предметов личного потребления и хозяйственно-бытового назначения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рка и химическая чистка текстильных и меховых изделий</a:t>
            </a:r>
          </a:p>
          <a:p>
            <a:pPr marL="540000" lvl="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услуг парикмахерскими и салонами красоты</a:t>
            </a:r>
          </a:p>
          <a:p>
            <a:pPr lvl="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. Деятельность в области здравоохранения</a:t>
            </a:r>
          </a:p>
          <a:p>
            <a:pPr marL="540000" indent="-285750" defTabSz="914400">
              <a:buFont typeface="Arial" panose="020B0604020202020204" pitchFamily="34" charset="0"/>
              <a:buChar char="•"/>
              <a:defRPr/>
            </a:pPr>
            <a:r>
              <a:rPr lang="ru-RU" sz="1400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матологическая практика</a:t>
            </a:r>
          </a:p>
          <a:p>
            <a:pPr marL="36000" defTabSz="914400">
              <a:defRPr/>
            </a:pP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. Розничная торговля непродовольственными </a:t>
            </a:r>
            <a:r>
              <a:rPr lang="ru-RU" sz="1400" b="1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варами (деятельность специализированных  магазинов и нестационарных торговых объектов</a:t>
            </a: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 торговля легковыми автомобилями, </a:t>
            </a:r>
            <a:r>
              <a:rPr lang="ru-RU" sz="1400" b="1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талями </a:t>
            </a:r>
            <a:r>
              <a:rPr lang="ru-RU" sz="1400" b="1" kern="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400" b="1" kern="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.)</a:t>
            </a:r>
            <a:endParaRPr lang="ru-RU" sz="1400" b="1" kern="0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430116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221176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5057" y="686124"/>
            <a:ext cx="8208912" cy="1008112"/>
          </a:xfrm>
        </p:spPr>
        <p:txBody>
          <a:bodyPr>
            <a:normAutofit/>
          </a:bodyPr>
          <a:lstStyle/>
          <a:p>
            <a:pPr algn="l"/>
            <a:r>
              <a:rPr lang="ru-RU" sz="16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ложение 3</a:t>
            </a:r>
            <a:r>
              <a:rPr lang="ru-RU" sz="16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чень отраслей российской экономики, требующих поддержки для возобновления деятельности (приложение 2 к ПП 696)</a:t>
            </a:r>
            <a:endParaRPr lang="ru-RU" sz="16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11</a:t>
            </a:fld>
            <a:endParaRPr lang="en-US" dirty="0"/>
          </a:p>
        </p:txBody>
      </p:sp>
      <p:graphicFrame>
        <p:nvGraphicFramePr>
          <p:cNvPr id="12" name="Объект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09526425"/>
              </p:ext>
            </p:extLst>
          </p:nvPr>
        </p:nvGraphicFramePr>
        <p:xfrm>
          <a:off x="300227" y="1789060"/>
          <a:ext cx="6336703" cy="723251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336703">
                  <a:extLst>
                    <a:ext uri="{9D8B030D-6E8A-4147-A177-3AD203B41FA5}">
                      <a16:colId xmlns:a16="http://schemas.microsoft.com/office/drawing/2014/main" val="1392249786"/>
                    </a:ext>
                  </a:extLst>
                </a:gridCol>
              </a:tblGrid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одежды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72938153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мебели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68011652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текстильных изделий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806156197"/>
                  </a:ext>
                </a:extLst>
              </a:tr>
              <a:tr h="47900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дание книг, периодических публикаций и другие виды издательской деятельности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73538079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кожи и изделий из кожи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88589628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парфюмерных и косметических средств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205345267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бытовых электрических приборов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558304744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бытовой электроники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16011069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металлических изделий для ванных комнат и кухни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62946834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гр и игрушек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49367603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спортивных товаров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05961627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хозяйственных и декоративных керамических изделий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57961531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часов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598599597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бытовых неэлектрических приборов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07033234"/>
                  </a:ext>
                </a:extLst>
              </a:tr>
              <a:tr h="91933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фурнитуры из недрагоценных металлов для одежды, обуви, кожгалантереи и прочих изделий, в том числе крючков, пряжек, застежек, петелек, колечек, трубчатых и раздвоенных заклепок и др.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91479323"/>
                  </a:ext>
                </a:extLst>
              </a:tr>
              <a:tr h="61288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статуэток, рам для фотографий, картин, зеркал и прочих декоративных изделий из недрагоценных металлов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68094701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велосипедов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05423746"/>
                  </a:ext>
                </a:extLst>
              </a:tr>
              <a:tr h="3064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зонтов, тростей, пуговиц, кнопок, застежек-молний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176493007"/>
                  </a:ext>
                </a:extLst>
              </a:tr>
              <a:tr h="61288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зготовление готовых металлических изделий хозяйственного назначения по индивидуальному заказу населения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468657607"/>
                  </a:ext>
                </a:extLst>
              </a:tr>
            </a:tbl>
          </a:graphicData>
        </a:graphic>
      </p:graphicFrame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55510893"/>
              </p:ext>
            </p:extLst>
          </p:nvPr>
        </p:nvGraphicFramePr>
        <p:xfrm>
          <a:off x="6630217" y="1851612"/>
          <a:ext cx="6112768" cy="3466671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112768">
                  <a:extLst>
                    <a:ext uri="{9D8B030D-6E8A-4147-A177-3AD203B41FA5}">
                      <a16:colId xmlns:a16="http://schemas.microsoft.com/office/drawing/2014/main" val="1105389902"/>
                    </a:ext>
                  </a:extLst>
                </a:gridCol>
              </a:tblGrid>
              <a:tr h="50405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предметов одежды и аксессуаров для нее, включая перчатки, из пластмасс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897087983"/>
                  </a:ext>
                </a:extLst>
              </a:tr>
              <a:tr h="28803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нвалидных колясок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84654221"/>
                  </a:ext>
                </a:extLst>
              </a:tr>
              <a:tr h="50405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изделий для праздников, карнавалов или прочих изделий для увеселения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47415309"/>
                  </a:ext>
                </a:extLst>
              </a:tr>
              <a:tr h="5760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предметов одежды и ее аксессуаров из вулканизированной резины </a:t>
                      </a:r>
                      <a:endParaRPr lang="ru-RU" sz="140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92703154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детских колясок и их частей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49066262"/>
                  </a:ext>
                </a:extLst>
              </a:tr>
              <a:tr h="43204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столовой и кухонной посуды из стекла или хрусталя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1960658"/>
                  </a:ext>
                </a:extLst>
              </a:tr>
              <a:tr h="73036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ru-RU" sz="140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украшений для интерьера и аналогичных изделий из стекла или хрусталя </a:t>
                      </a:r>
                      <a:endParaRPr lang="ru-RU" sz="140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93949581"/>
                  </a:ext>
                </a:extLst>
              </a:tr>
            </a:tbl>
          </a:graphicData>
        </a:graphic>
      </p:graphicFrame>
      <p:cxnSp>
        <p:nvCxnSpPr>
          <p:cNvPr id="7" name="Прямая соединительная линия 6"/>
          <p:cNvCxnSpPr/>
          <p:nvPr/>
        </p:nvCxnSpPr>
        <p:spPr>
          <a:xfrm>
            <a:off x="430116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963106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ый механизм господдержки в рамках Постановления Правительства от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.05.2020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6 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Объект 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15341235"/>
              </p:ext>
            </p:extLst>
          </p:nvPr>
        </p:nvGraphicFramePr>
        <p:xfrm>
          <a:off x="618024" y="1767403"/>
          <a:ext cx="11615738" cy="60575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2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535520" y="1665201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8" name="Стрелка вправо 7"/>
          <p:cNvSpPr/>
          <p:nvPr/>
        </p:nvSpPr>
        <p:spPr>
          <a:xfrm rot="5400000">
            <a:off x="6432080" y="3474132"/>
            <a:ext cx="331276" cy="535940"/>
          </a:xfrm>
          <a:prstGeom prst="rightArrow">
            <a:avLst>
              <a:gd name="adj1" fmla="val 60000"/>
              <a:gd name="adj2" fmla="val 50000"/>
            </a:avLst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0">
            <a:schemeClr val="accent3">
              <a:shade val="90000"/>
              <a:hueOff val="280340"/>
              <a:satOff val="-6007"/>
              <a:lumOff val="30812"/>
              <a:alphaOff val="0"/>
            </a:schemeClr>
          </a:lnRef>
          <a:fillRef idx="1">
            <a:schemeClr val="accent3">
              <a:shade val="90000"/>
              <a:hueOff val="280340"/>
              <a:satOff val="-6007"/>
              <a:lumOff val="30812"/>
              <a:alphaOff val="0"/>
            </a:schemeClr>
          </a:fillRef>
          <a:effectRef idx="0">
            <a:schemeClr val="accent3">
              <a:shade val="90000"/>
              <a:hueOff val="280340"/>
              <a:satOff val="-6007"/>
              <a:lumOff val="30812"/>
              <a:alphaOff val="0"/>
            </a:schemeClr>
          </a:effectRef>
          <a:fontRef idx="minor">
            <a:schemeClr val="lt1"/>
          </a:fontRef>
        </p:style>
      </p:sp>
      <p:sp>
        <p:nvSpPr>
          <p:cNvPr id="20" name="Стрелка вправо 19"/>
          <p:cNvSpPr/>
          <p:nvPr/>
        </p:nvSpPr>
        <p:spPr>
          <a:xfrm rot="5400000">
            <a:off x="6458764" y="4574585"/>
            <a:ext cx="331276" cy="556002"/>
          </a:xfrm>
          <a:prstGeom prst="rightArrow">
            <a:avLst>
              <a:gd name="adj1" fmla="val 60000"/>
              <a:gd name="adj2" fmla="val 50000"/>
            </a:avLst>
          </a:prstGeom>
          <a:ln>
            <a:solidFill>
              <a:schemeClr val="bg2">
                <a:lumMod val="25000"/>
              </a:schemeClr>
            </a:solidFill>
          </a:ln>
        </p:spPr>
        <p:style>
          <a:lnRef idx="0">
            <a:schemeClr val="accent3">
              <a:shade val="90000"/>
              <a:hueOff val="280340"/>
              <a:satOff val="-6007"/>
              <a:lumOff val="30812"/>
              <a:alphaOff val="0"/>
            </a:schemeClr>
          </a:lnRef>
          <a:fillRef idx="1">
            <a:schemeClr val="accent3">
              <a:shade val="90000"/>
              <a:hueOff val="280340"/>
              <a:satOff val="-6007"/>
              <a:lumOff val="30812"/>
              <a:alphaOff val="0"/>
            </a:schemeClr>
          </a:fillRef>
          <a:effectRef idx="0">
            <a:schemeClr val="accent3">
              <a:shade val="90000"/>
              <a:hueOff val="280340"/>
              <a:satOff val="-6007"/>
              <a:lumOff val="30812"/>
              <a:alphaOff val="0"/>
            </a:schemeClr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144979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параметры Постановления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а РФ </a:t>
            </a:r>
            <a:b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6.05.2020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6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льготному кредитованию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1/2)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3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48716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872408" y="1909661"/>
            <a:ext cx="9929192" cy="1531717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обновление деятельности клиента, включая:</a:t>
            </a:r>
            <a:endParaRPr lang="ru-RU" sz="14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плату заработной платы в размере, не более установленного трудовым договором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гашение платежей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процентам и по основному долгу по кредитным </a:t>
            </a: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говорам,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ключенным в рамках ПП №1764 и  ПП №</a:t>
            </a: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22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ые расходы на возобновление деятельности 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2872408" y="7104857"/>
            <a:ext cx="9929192" cy="178475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ный договор должен быть заключен в период с 01.06.2020 по 01.11.2020 </a:t>
            </a:r>
          </a:p>
          <a:p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кредита – до 30.06.2021 </a:t>
            </a:r>
            <a:r>
              <a:rPr lang="ru-RU" sz="14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лайд </a:t>
            </a:r>
            <a:r>
              <a:rPr lang="ru-RU" sz="14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)</a:t>
            </a: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ru-RU" sz="14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овый период – до 01.12.2020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 наблюдения – с 01.12.2020 до 01.04.2021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гашения </a:t>
            </a:r>
            <a:r>
              <a:rPr lang="ru-RU" sz="14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3 месяца (равными долями с учетом капитализации %)</a:t>
            </a:r>
            <a:endParaRPr lang="ru-RU" sz="1400" b="1" dirty="0" smtClean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ханизм кредитования должен быть отражен в КОД</a:t>
            </a:r>
          </a:p>
        </p:txBody>
      </p:sp>
      <p:sp>
        <p:nvSpPr>
          <p:cNvPr id="24" name="Пятиугольник 23"/>
          <p:cNvSpPr/>
          <p:nvPr/>
        </p:nvSpPr>
        <p:spPr>
          <a:xfrm>
            <a:off x="535520" y="2150367"/>
            <a:ext cx="2226218" cy="1096139"/>
          </a:xfrm>
          <a:prstGeom prst="homePlate">
            <a:avLst/>
          </a:prstGeom>
          <a:solidFill>
            <a:srgbClr val="FFDE75"/>
          </a:solidFill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ь льготного кредитования</a:t>
            </a:r>
            <a:endParaRPr lang="ru-RU" sz="165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535520" y="3647586"/>
            <a:ext cx="12266080" cy="1531717"/>
            <a:chOff x="535520" y="3729647"/>
            <a:chExt cx="8902248" cy="1531717"/>
          </a:xfrm>
        </p:grpSpPr>
        <p:sp>
          <p:nvSpPr>
            <p:cNvPr id="42" name="Прямоугольник 41"/>
            <p:cNvSpPr/>
            <p:nvPr/>
          </p:nvSpPr>
          <p:spPr>
            <a:xfrm>
              <a:off x="2231543" y="3729647"/>
              <a:ext cx="7206225" cy="153171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27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ксимальная сумма кредита определяется как произведение расчетного размера оплаты труда, численности работников заемщика и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зового периода (не более 6 месяцев до 01.12.20)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счетный размер ОТ = МРОТ + К районный + надбавки (с учетом страховых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зносов 30%)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Численность определяется на основании сервиса ФНС на 01.06.2020</a:t>
              </a:r>
            </a:p>
          </p:txBody>
        </p:sp>
        <p:sp>
          <p:nvSpPr>
            <p:cNvPr id="25" name="Пятиугольник 24"/>
            <p:cNvSpPr/>
            <p:nvPr/>
          </p:nvSpPr>
          <p:spPr>
            <a:xfrm>
              <a:off x="535520" y="3880300"/>
              <a:ext cx="1615703" cy="1096139"/>
            </a:xfrm>
            <a:prstGeom prst="homePlate">
              <a:avLst/>
            </a:prstGeom>
            <a:solidFill>
              <a:srgbClr val="FFDE75"/>
            </a:solidFill>
            <a:ln>
              <a:solidFill>
                <a:srgbClr val="FFC000"/>
              </a:solidFill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мма кредита</a:t>
              </a:r>
              <a:endParaRPr lang="ru-RU" sz="16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535521" y="5385511"/>
            <a:ext cx="12266079" cy="1531717"/>
            <a:chOff x="535521" y="5549633"/>
            <a:chExt cx="12266079" cy="1531717"/>
          </a:xfrm>
        </p:grpSpPr>
        <p:sp>
          <p:nvSpPr>
            <p:cNvPr id="46" name="Прямоугольник 45"/>
            <p:cNvSpPr/>
            <p:nvPr/>
          </p:nvSpPr>
          <p:spPr>
            <a:xfrm>
              <a:off x="2872408" y="5549633"/>
              <a:ext cx="9929192" cy="1531717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27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% - в течение базового периода (включаются в основной долг)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% - в течение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иода наблюдения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включаются в основной долг)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мерческая (стандартная) ставка – в течение периода погашения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иссии в течение базового периода и периода наблюдения не взимаются</a:t>
              </a:r>
            </a:p>
          </p:txBody>
        </p:sp>
        <p:sp>
          <p:nvSpPr>
            <p:cNvPr id="26" name="Пятиугольник 25"/>
            <p:cNvSpPr/>
            <p:nvPr/>
          </p:nvSpPr>
          <p:spPr>
            <a:xfrm>
              <a:off x="535521" y="5610233"/>
              <a:ext cx="2226218" cy="1096139"/>
            </a:xfrm>
            <a:prstGeom prst="homePlate">
              <a:avLst/>
            </a:prstGeom>
            <a:solidFill>
              <a:srgbClr val="FFDE75"/>
            </a:solidFill>
            <a:ln>
              <a:solidFill>
                <a:srgbClr val="FFC000"/>
              </a:solidFill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центная ставка</a:t>
              </a:r>
              <a:endParaRPr lang="ru-RU" sz="16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7" name="Пятиугольник 26"/>
          <p:cNvSpPr/>
          <p:nvPr/>
        </p:nvSpPr>
        <p:spPr>
          <a:xfrm>
            <a:off x="539186" y="7384505"/>
            <a:ext cx="2226218" cy="1096139"/>
          </a:xfrm>
          <a:prstGeom prst="homePlate">
            <a:avLst/>
          </a:prstGeom>
          <a:solidFill>
            <a:srgbClr val="FFDE75"/>
          </a:solidFill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кредитования</a:t>
            </a:r>
            <a:endParaRPr lang="ru-RU" sz="165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3374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параметры Постановления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а РФ </a:t>
            </a:r>
            <a:b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6.05.2020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6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льготному кредитованию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2/2)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4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48716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15" name="Прямоугольник 14"/>
          <p:cNvSpPr/>
          <p:nvPr/>
        </p:nvSpPr>
        <p:spPr>
          <a:xfrm>
            <a:off x="2880615" y="1783015"/>
            <a:ext cx="9920983" cy="203559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12700">
            <a:solidFill>
              <a:schemeClr val="accent3">
                <a:lumMod val="50000"/>
              </a:schemeClr>
            </a:solidFill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Юридические лица и индивидуальные предприниматели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 введена процедура банкротства (на дату обращения)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не приостановлена (на дату обращения)</a:t>
            </a:r>
            <a:endParaRPr lang="ru-RU" sz="135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ключен в реестр социально ориентированных некоммерческих организаций </a:t>
            </a:r>
            <a:r>
              <a:rPr lang="ru-RU" sz="11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лайд </a:t>
            </a:r>
            <a:r>
              <a:rPr lang="ru-RU" sz="11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</a:t>
            </a:r>
            <a:r>
              <a:rPr lang="ru-RU" sz="11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1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1350" b="1" i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</a:t>
            </a:r>
          </a:p>
          <a:p>
            <a:pPr marL="288000"/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ет </a:t>
            </a:r>
            <a:r>
              <a:rPr lang="ru-RU" sz="13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</a:t>
            </a:r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3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иболее пострадавших </a:t>
            </a:r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слях (ПП 434) </a:t>
            </a:r>
            <a:r>
              <a:rPr lang="ru-RU" sz="13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3.20 </a:t>
            </a:r>
            <a:r>
              <a:rPr lang="ru-RU" sz="11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лайд </a:t>
            </a:r>
            <a:r>
              <a:rPr lang="ru-RU" sz="11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)</a:t>
            </a:r>
            <a:r>
              <a:rPr lang="ru-RU" sz="11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ru-RU" sz="1350" b="1" i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ли</a:t>
            </a:r>
            <a:endParaRPr lang="ru-RU" sz="1350" i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8000"/>
            <a:r>
              <a:rPr lang="ru-RU" sz="13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уществляет деятельность отраслях, требующих поддержки (ПП 696) на 01.03.20 </a:t>
            </a:r>
            <a:r>
              <a:rPr lang="ru-RU" sz="1100" b="1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слайд </a:t>
            </a:r>
            <a:r>
              <a:rPr lang="ru-RU" sz="110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)</a:t>
            </a:r>
            <a:endParaRPr lang="ru-RU" sz="11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0" name="Группа 39"/>
          <p:cNvGrpSpPr/>
          <p:nvPr/>
        </p:nvGrpSpPr>
        <p:grpSpPr>
          <a:xfrm>
            <a:off x="547243" y="3994455"/>
            <a:ext cx="12254356" cy="1110911"/>
            <a:chOff x="457016" y="2056925"/>
            <a:chExt cx="12249173" cy="1707595"/>
          </a:xfrm>
        </p:grpSpPr>
        <p:sp>
          <p:nvSpPr>
            <p:cNvPr id="41" name="Пятиугольник 40"/>
            <p:cNvSpPr/>
            <p:nvPr/>
          </p:nvSpPr>
          <p:spPr>
            <a:xfrm>
              <a:off x="457016" y="2056925"/>
              <a:ext cx="2233368" cy="1680616"/>
            </a:xfrm>
            <a:prstGeom prst="homePlate">
              <a:avLst/>
            </a:prstGeom>
            <a:solidFill>
              <a:srgbClr val="FFDE75"/>
            </a:solidFill>
            <a:ln>
              <a:solidFill>
                <a:srgbClr val="FFC000"/>
              </a:solidFill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рядок </a:t>
              </a:r>
            </a:p>
            <a:p>
              <a:pPr algn="ctr"/>
              <a:r>
                <a:rPr lang="ru-RU" sz="16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ыдачи кредита</a:t>
              </a:r>
              <a:endParaRPr lang="ru-RU" sz="16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2801119" y="2079631"/>
              <a:ext cx="9905070" cy="1684889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27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жемесячно в размере, не превышающем произведение двукратного расчетного размера оплаты труда и численности работников Заемщика </a:t>
              </a:r>
            </a:p>
          </p:txBody>
        </p:sp>
      </p:grpSp>
      <p:grpSp>
        <p:nvGrpSpPr>
          <p:cNvPr id="7" name="Группа 6"/>
          <p:cNvGrpSpPr/>
          <p:nvPr/>
        </p:nvGrpSpPr>
        <p:grpSpPr>
          <a:xfrm>
            <a:off x="547242" y="5295740"/>
            <a:ext cx="12254358" cy="1608155"/>
            <a:chOff x="502302" y="5083596"/>
            <a:chExt cx="12254358" cy="1608155"/>
          </a:xfrm>
        </p:grpSpPr>
        <p:sp>
          <p:nvSpPr>
            <p:cNvPr id="46" name="Прямоугольник 45"/>
            <p:cNvSpPr/>
            <p:nvPr/>
          </p:nvSpPr>
          <p:spPr>
            <a:xfrm>
              <a:off x="2880616" y="5083596"/>
              <a:ext cx="9876044" cy="1608155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27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ремя равными платежами 28.12.20, 28.01.21, 01.03.21 (если к концу базового периода банкротство, приостановление деятельности, сохранение численности менее 80%)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35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Тремя равными платежами </a:t>
              </a: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.04.21, 30.05.21</a:t>
              </a:r>
              <a:r>
                <a:rPr lang="ru-RU" sz="135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0.06.21 </a:t>
              </a:r>
              <a:r>
                <a:rPr lang="ru-RU" sz="135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если к концу </a:t>
              </a: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иода наблюдения банкротство</a:t>
              </a:r>
              <a:r>
                <a:rPr lang="ru-RU" sz="135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приостановление деятельности, сохранение численности менее 80%)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писание задолженности (при выполнении условий) </a:t>
              </a:r>
              <a:endParaRPr lang="ru-RU" sz="13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4" name="Пятиугольник 23"/>
            <p:cNvSpPr/>
            <p:nvPr/>
          </p:nvSpPr>
          <p:spPr>
            <a:xfrm>
              <a:off x="502302" y="5240719"/>
              <a:ext cx="2294653" cy="1096139"/>
            </a:xfrm>
            <a:prstGeom prst="homePlate">
              <a:avLst/>
            </a:prstGeom>
            <a:solidFill>
              <a:srgbClr val="FFDE75"/>
            </a:solidFill>
            <a:ln>
              <a:solidFill>
                <a:srgbClr val="FFC000"/>
              </a:solidFill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рядок погашения кредита</a:t>
              </a:r>
              <a:endParaRPr lang="ru-RU" sz="16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Пятиугольник 24"/>
          <p:cNvSpPr/>
          <p:nvPr/>
        </p:nvSpPr>
        <p:spPr>
          <a:xfrm>
            <a:off x="550558" y="2094404"/>
            <a:ext cx="2226218" cy="1096139"/>
          </a:xfrm>
          <a:prstGeom prst="homePlate">
            <a:avLst/>
          </a:prstGeom>
          <a:solidFill>
            <a:srgbClr val="FFDE75"/>
          </a:solidFill>
          <a:ln>
            <a:solidFill>
              <a:srgbClr val="FFC000"/>
            </a:solidFill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5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ебования к Заемщикам</a:t>
            </a:r>
            <a:endParaRPr lang="ru-RU" sz="165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535520" y="7094269"/>
            <a:ext cx="12266080" cy="1572912"/>
            <a:chOff x="535520" y="7169266"/>
            <a:chExt cx="12266080" cy="1572912"/>
          </a:xfrm>
        </p:grpSpPr>
        <p:sp>
          <p:nvSpPr>
            <p:cNvPr id="50" name="Прямоугольник 49"/>
            <p:cNvSpPr/>
            <p:nvPr/>
          </p:nvSpPr>
          <p:spPr>
            <a:xfrm>
              <a:off x="2904062" y="7169266"/>
              <a:ext cx="9897538" cy="1572912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 w="12700">
              <a:solidFill>
                <a:schemeClr val="accent3">
                  <a:lumMod val="50000"/>
                </a:schemeClr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сидия по процентной ставке (7500р. + 7%)</a:t>
              </a:r>
            </a:p>
            <a:p>
              <a:pPr marL="252000"/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Базовый период и период наблюдения (предоставляется ежемесячно)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сидия по списанию задолженности:</a:t>
              </a:r>
            </a:p>
            <a:p>
              <a:pPr marL="576000" indent="-285750">
                <a:buFont typeface="Arial" panose="020B0604020202020204" pitchFamily="34" charset="0"/>
                <a:buChar char="•"/>
              </a:pP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0% - сохранение численности в размере не менее 80%</a:t>
              </a:r>
            </a:p>
            <a:p>
              <a:pPr marL="576000" indent="-285750">
                <a:buFont typeface="Arial" panose="020B0604020202020204" pitchFamily="34" charset="0"/>
                <a:buChar char="•"/>
              </a:pP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0% - </a:t>
              </a:r>
              <a:r>
                <a:rPr lang="ru-RU" sz="135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хранение численности в размере не менее </a:t>
              </a: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0</a:t>
              </a:r>
              <a:r>
                <a:rPr lang="ru-RU" sz="135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%</a:t>
              </a:r>
            </a:p>
            <a:p>
              <a:pPr marL="252000"/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едоставляется </a:t>
              </a:r>
              <a:r>
                <a:rPr lang="ru-RU" sz="135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диновременно (в период с 01.05.21 по 31.12.21</a:t>
              </a:r>
              <a:r>
                <a:rPr lang="ru-RU" sz="13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</a:p>
            <a:p>
              <a:pPr marL="252000"/>
              <a:r>
                <a:rPr lang="ru-RU" sz="1100" b="1" dirty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слайд </a:t>
              </a:r>
              <a:r>
                <a:rPr lang="ru-RU" sz="1100" b="1" dirty="0" smtClean="0">
                  <a:solidFill>
                    <a:srgbClr val="0070C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)</a:t>
              </a:r>
              <a:endParaRPr lang="ru-RU" sz="11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Пятиугольник 25"/>
            <p:cNvSpPr/>
            <p:nvPr/>
          </p:nvSpPr>
          <p:spPr>
            <a:xfrm>
              <a:off x="535520" y="7361578"/>
              <a:ext cx="2226218" cy="1096139"/>
            </a:xfrm>
            <a:prstGeom prst="homePlate">
              <a:avLst/>
            </a:prstGeom>
            <a:solidFill>
              <a:srgbClr val="FFDE75"/>
            </a:solidFill>
            <a:ln>
              <a:solidFill>
                <a:srgbClr val="FFC000"/>
              </a:solidFill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65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иды субсидирования</a:t>
              </a:r>
              <a:endParaRPr lang="ru-RU" sz="165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18556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авления субсидирования в рамках 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новления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ительства РФ от 16.05.2020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6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5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48716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aphicFrame>
        <p:nvGraphicFramePr>
          <p:cNvPr id="9" name="Схема 8"/>
          <p:cNvGraphicFramePr/>
          <p:nvPr>
            <p:extLst>
              <p:ext uri="{D42A27DB-BD31-4B8C-83A1-F6EECF244321}">
                <p14:modId xmlns:p14="http://schemas.microsoft.com/office/powerpoint/2010/main" val="2112585101"/>
              </p:ext>
            </p:extLst>
          </p:nvPr>
        </p:nvGraphicFramePr>
        <p:xfrm>
          <a:off x="712168" y="1848272"/>
          <a:ext cx="9167264" cy="70567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10" name="Группа 9"/>
          <p:cNvGrpSpPr/>
          <p:nvPr/>
        </p:nvGrpSpPr>
        <p:grpSpPr>
          <a:xfrm>
            <a:off x="10164995" y="2836604"/>
            <a:ext cx="2138226" cy="2232248"/>
            <a:chOff x="9641160" y="2496344"/>
            <a:chExt cx="2138226" cy="2232248"/>
          </a:xfrm>
        </p:grpSpPr>
        <p:sp>
          <p:nvSpPr>
            <p:cNvPr id="27" name="Стрелка вправо 26"/>
            <p:cNvSpPr/>
            <p:nvPr/>
          </p:nvSpPr>
          <p:spPr>
            <a:xfrm rot="10800000">
              <a:off x="9641160" y="2496344"/>
              <a:ext cx="2138226" cy="2232248"/>
            </a:xfrm>
            <a:prstGeom prst="rightArrow">
              <a:avLst/>
            </a:prstGeom>
            <a:noFill/>
            <a:ln w="19050">
              <a:solidFill>
                <a:srgbClr val="EAB2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9893188" y="3243135"/>
              <a:ext cx="188619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сидия предоставляется ежемесячно</a:t>
              </a:r>
            </a:p>
          </p:txBody>
        </p:sp>
      </p:grpSp>
      <p:grpSp>
        <p:nvGrpSpPr>
          <p:cNvPr id="11" name="Группа 10"/>
          <p:cNvGrpSpPr/>
          <p:nvPr/>
        </p:nvGrpSpPr>
        <p:grpSpPr>
          <a:xfrm>
            <a:off x="10145216" y="6312768"/>
            <a:ext cx="2138226" cy="2232248"/>
            <a:chOff x="9627404" y="5376664"/>
            <a:chExt cx="2138226" cy="2232248"/>
          </a:xfrm>
        </p:grpSpPr>
        <p:sp>
          <p:nvSpPr>
            <p:cNvPr id="30" name="Стрелка вправо 29"/>
            <p:cNvSpPr/>
            <p:nvPr/>
          </p:nvSpPr>
          <p:spPr>
            <a:xfrm rot="10800000">
              <a:off x="9627404" y="5376664"/>
              <a:ext cx="2138226" cy="2232248"/>
            </a:xfrm>
            <a:prstGeom prst="rightArrow">
              <a:avLst/>
            </a:prstGeom>
            <a:noFill/>
            <a:ln w="19050">
              <a:solidFill>
                <a:srgbClr val="EAB2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9879432" y="6123456"/>
              <a:ext cx="1886198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 err="1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Единоразовое</a:t>
              </a:r>
              <a:r>
                <a:rPr lang="ru-RU" sz="14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предоставление субсидии</a:t>
              </a:r>
              <a:endParaRPr lang="ru-RU" sz="14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3" name="TextBox 32"/>
          <p:cNvSpPr txBox="1"/>
          <p:nvPr/>
        </p:nvSpPr>
        <p:spPr>
          <a:xfrm rot="16200000">
            <a:off x="8801864" y="2696322"/>
            <a:ext cx="1327870" cy="446276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5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ЗОВЫЙ ПЕРИОД</a:t>
            </a:r>
            <a:endParaRPr lang="ru-RU" sz="115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extBox 33"/>
          <p:cNvSpPr txBox="1"/>
          <p:nvPr/>
        </p:nvSpPr>
        <p:spPr>
          <a:xfrm rot="16200000">
            <a:off x="8701974" y="4405182"/>
            <a:ext cx="1527650" cy="446276"/>
          </a:xfrm>
          <a:prstGeom prst="rect">
            <a:avLst/>
          </a:prstGeom>
          <a:noFill/>
          <a:ln>
            <a:solidFill>
              <a:schemeClr val="accent3">
                <a:lumMod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150" b="1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ИОД НАБЛЮДЕНИЯ</a:t>
            </a:r>
            <a:endParaRPr lang="ru-RU" sz="1150" b="1" dirty="0">
              <a:solidFill>
                <a:srgbClr val="0070C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7867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4858" y="699371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хема льготного кредитования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рамках Постановления Правительства от </a:t>
            </a:r>
            <a:r>
              <a:rPr lang="en-US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US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2020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6 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425136" y="9090025"/>
            <a:ext cx="2987040" cy="511175"/>
          </a:xfrm>
        </p:spPr>
        <p:txBody>
          <a:bodyPr/>
          <a:lstStyle/>
          <a:p>
            <a:fld id="{6DDF61C1-2457-E848-BB6B-E1DA9A549776}" type="slidenum">
              <a:rPr lang="en-US" smtClean="0"/>
              <a:pPr/>
              <a:t>6</a:t>
            </a:fld>
            <a:endParaRPr lang="en-US" dirty="0"/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94858" y="1616417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28" name="Группа 27"/>
          <p:cNvGrpSpPr/>
          <p:nvPr/>
        </p:nvGrpSpPr>
        <p:grpSpPr>
          <a:xfrm>
            <a:off x="8883784" y="6697574"/>
            <a:ext cx="3528392" cy="2323800"/>
            <a:chOff x="1144216" y="2460340"/>
            <a:chExt cx="3528392" cy="2323800"/>
          </a:xfrm>
        </p:grpSpPr>
        <p:sp>
          <p:nvSpPr>
            <p:cNvPr id="30" name="Скругленный прямоугольник 29"/>
            <p:cNvSpPr/>
            <p:nvPr/>
          </p:nvSpPr>
          <p:spPr>
            <a:xfrm>
              <a:off x="1144216" y="2784376"/>
              <a:ext cx="3240360" cy="1999764"/>
            </a:xfrm>
            <a:prstGeom prst="roundRect">
              <a:avLst/>
            </a:prstGeom>
            <a:noFill/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bg2">
                    <a:lumMod val="25000"/>
                  </a:schemeClr>
                </a:solidFill>
              </a:endParaRP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2368352" y="2460340"/>
              <a:ext cx="2304256" cy="648072"/>
            </a:xfrm>
            <a:prstGeom prst="round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8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сидия по списанию</a:t>
              </a:r>
              <a:endParaRPr lang="ru-RU" sz="1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4" name="Группа 13"/>
          <p:cNvGrpSpPr/>
          <p:nvPr/>
        </p:nvGrpSpPr>
        <p:grpSpPr>
          <a:xfrm>
            <a:off x="383474" y="1905975"/>
            <a:ext cx="3528392" cy="2124236"/>
            <a:chOff x="424136" y="1954759"/>
            <a:chExt cx="3528392" cy="2124236"/>
          </a:xfrm>
        </p:grpSpPr>
        <p:grpSp>
          <p:nvGrpSpPr>
            <p:cNvPr id="17" name="Группа 16"/>
            <p:cNvGrpSpPr/>
            <p:nvPr/>
          </p:nvGrpSpPr>
          <p:grpSpPr>
            <a:xfrm>
              <a:off x="424136" y="1954759"/>
              <a:ext cx="3528392" cy="2124236"/>
              <a:chOff x="1144216" y="2460340"/>
              <a:chExt cx="3528392" cy="2124236"/>
            </a:xfrm>
          </p:grpSpPr>
          <p:sp>
            <p:nvSpPr>
              <p:cNvPr id="19" name="Скругленный прямоугольник 18"/>
              <p:cNvSpPr/>
              <p:nvPr/>
            </p:nvSpPr>
            <p:spPr>
              <a:xfrm>
                <a:off x="1144216" y="2784376"/>
                <a:ext cx="3240360" cy="1800200"/>
              </a:xfrm>
              <a:prstGeom prst="roundRect">
                <a:avLst/>
              </a:prstGeom>
              <a:noFill/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ru-RU" sz="140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8" name="Скругленный прямоугольник 17"/>
              <p:cNvSpPr/>
              <p:nvPr/>
            </p:nvSpPr>
            <p:spPr>
              <a:xfrm>
                <a:off x="2368352" y="2460340"/>
                <a:ext cx="2304256" cy="648072"/>
              </a:xfrm>
              <a:prstGeom prst="roundRect">
                <a:avLst/>
              </a:prstGeom>
              <a:solidFill>
                <a:schemeClr val="accent3">
                  <a:lumMod val="60000"/>
                  <a:lumOff val="40000"/>
                </a:schemeClr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b="1" dirty="0" smtClean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Базовый период</a:t>
                </a:r>
                <a:endParaRPr lang="ru-RU" sz="18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1" name="Прямоугольник 30"/>
            <p:cNvSpPr/>
            <p:nvPr/>
          </p:nvSpPr>
          <p:spPr>
            <a:xfrm>
              <a:off x="429188" y="2560399"/>
              <a:ext cx="3235308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01.12.2020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вка 2% (проценты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носятся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основной долг в конце базового периода)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сидирование МЭР процентной ставки </a:t>
              </a:r>
            </a:p>
          </p:txBody>
        </p:sp>
      </p:grpSp>
      <p:grpSp>
        <p:nvGrpSpPr>
          <p:cNvPr id="16" name="Группа 15"/>
          <p:cNvGrpSpPr/>
          <p:nvPr/>
        </p:nvGrpSpPr>
        <p:grpSpPr>
          <a:xfrm>
            <a:off x="4035484" y="2672968"/>
            <a:ext cx="3528392" cy="2124236"/>
            <a:chOff x="3922404" y="2776826"/>
            <a:chExt cx="3528392" cy="2124236"/>
          </a:xfrm>
        </p:grpSpPr>
        <p:grpSp>
          <p:nvGrpSpPr>
            <p:cNvPr id="9" name="Группа 8"/>
            <p:cNvGrpSpPr/>
            <p:nvPr/>
          </p:nvGrpSpPr>
          <p:grpSpPr>
            <a:xfrm>
              <a:off x="3922404" y="2776826"/>
              <a:ext cx="3528392" cy="2124236"/>
              <a:chOff x="1144216" y="2460340"/>
              <a:chExt cx="3528392" cy="2124236"/>
            </a:xfrm>
          </p:grpSpPr>
          <p:sp>
            <p:nvSpPr>
              <p:cNvPr id="15" name="Скругленный прямоугольник 14"/>
              <p:cNvSpPr/>
              <p:nvPr/>
            </p:nvSpPr>
            <p:spPr>
              <a:xfrm>
                <a:off x="1144216" y="2784376"/>
                <a:ext cx="3240360" cy="1800200"/>
              </a:xfrm>
              <a:prstGeom prst="roundRect">
                <a:avLst/>
              </a:prstGeom>
              <a:noFill/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sp>
            <p:nvSpPr>
              <p:cNvPr id="6" name="Скругленный прямоугольник 5"/>
              <p:cNvSpPr/>
              <p:nvPr/>
            </p:nvSpPr>
            <p:spPr>
              <a:xfrm>
                <a:off x="2368352" y="2460340"/>
                <a:ext cx="2304256" cy="648072"/>
              </a:xfrm>
              <a:prstGeom prst="roundRect">
                <a:avLst/>
              </a:prstGeom>
              <a:solidFill>
                <a:srgbClr val="CCDDAB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b="1" dirty="0" smtClean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ериод наблюдения</a:t>
                </a:r>
                <a:endParaRPr lang="ru-RU" sz="18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2" name="Прямоугольник 31"/>
            <p:cNvSpPr/>
            <p:nvPr/>
          </p:nvSpPr>
          <p:spPr>
            <a:xfrm>
              <a:off x="3927456" y="3424898"/>
              <a:ext cx="3235308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 01.12.2020 до 01.04.2021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вка 2% (проценты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носятся </a:t>
              </a: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 основной долг в конце </a:t>
              </a: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иода наблюдения)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убсидирование МЭР процентной ставки </a:t>
              </a:r>
            </a:p>
          </p:txBody>
        </p:sp>
      </p:grpSp>
      <p:sp>
        <p:nvSpPr>
          <p:cNvPr id="33" name="Прямоугольник 32"/>
          <p:cNvSpPr/>
          <p:nvPr/>
        </p:nvSpPr>
        <p:spPr>
          <a:xfrm>
            <a:off x="8850655" y="7322192"/>
            <a:ext cx="3235308" cy="1692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задолженности </a:t>
            </a:r>
            <a:r>
              <a:rPr lang="ru-RU" sz="13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ru-RU" sz="13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численности не менее 80% </a:t>
            </a:r>
            <a:r>
              <a:rPr lang="ru-RU" sz="13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01.03.2021 к </a:t>
            </a:r>
            <a:r>
              <a:rPr lang="ru-RU" sz="13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6.2020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sz="13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% </a:t>
            </a:r>
            <a:r>
              <a: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долженности</a:t>
            </a:r>
            <a:r>
              <a:rPr lang="ru-RU" sz="13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сохранение численности не менее </a:t>
            </a:r>
            <a:r>
              <a:rPr lang="ru-RU" sz="13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90</a:t>
            </a:r>
            <a:r>
              <a:rPr lang="ru-RU" sz="13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</a:t>
            </a:r>
            <a:r>
              <a:rPr lang="ru-RU" sz="13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01.03.2021 к </a:t>
            </a:r>
            <a:r>
              <a:rPr lang="ru-RU" sz="13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6.2020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1679618" y="6408000"/>
            <a:ext cx="3456384" cy="2124236"/>
            <a:chOff x="2014192" y="6456784"/>
            <a:chExt cx="3456384" cy="2124236"/>
          </a:xfrm>
        </p:grpSpPr>
        <p:grpSp>
          <p:nvGrpSpPr>
            <p:cNvPr id="22" name="Группа 21"/>
            <p:cNvGrpSpPr/>
            <p:nvPr/>
          </p:nvGrpSpPr>
          <p:grpSpPr>
            <a:xfrm>
              <a:off x="2014192" y="6456784"/>
              <a:ext cx="3456384" cy="2124236"/>
              <a:chOff x="1144216" y="2460340"/>
              <a:chExt cx="3456384" cy="2124236"/>
            </a:xfrm>
          </p:grpSpPr>
          <p:sp>
            <p:nvSpPr>
              <p:cNvPr id="24" name="Скругленный прямоугольник 23"/>
              <p:cNvSpPr/>
              <p:nvPr/>
            </p:nvSpPr>
            <p:spPr>
              <a:xfrm>
                <a:off x="1144216" y="2784376"/>
                <a:ext cx="3240360" cy="1800200"/>
              </a:xfrm>
              <a:prstGeom prst="roundRect">
                <a:avLst/>
              </a:prstGeom>
              <a:ln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sp>
            <p:nvSpPr>
              <p:cNvPr id="23" name="Скругленный прямоугольник 22"/>
              <p:cNvSpPr/>
              <p:nvPr/>
            </p:nvSpPr>
            <p:spPr>
              <a:xfrm>
                <a:off x="2296344" y="2460340"/>
                <a:ext cx="2304256" cy="648072"/>
              </a:xfrm>
              <a:prstGeom prst="roundRect">
                <a:avLst/>
              </a:prstGeom>
              <a:solidFill>
                <a:srgbClr val="FFDA65"/>
              </a:solidFill>
              <a:ln>
                <a:solidFill>
                  <a:srgbClr val="FFC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b="1" dirty="0" smtClean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ериод погашения</a:t>
                </a:r>
                <a:endParaRPr lang="ru-RU" sz="18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4" name="Прямоугольник 33"/>
            <p:cNvSpPr/>
            <p:nvPr/>
          </p:nvSpPr>
          <p:spPr>
            <a:xfrm>
              <a:off x="2014192" y="7116578"/>
              <a:ext cx="3235308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 месяца*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Коммерческая ставка (проценты уплачиваются)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гашение задолженности ежемесячно равными долями (в три платежа)  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37" name="Группа 36"/>
          <p:cNvGrpSpPr/>
          <p:nvPr/>
        </p:nvGrpSpPr>
        <p:grpSpPr>
          <a:xfrm>
            <a:off x="6396142" y="4735356"/>
            <a:ext cx="3528392" cy="2124236"/>
            <a:chOff x="6436804" y="4784140"/>
            <a:chExt cx="3528392" cy="2124236"/>
          </a:xfrm>
        </p:grpSpPr>
        <p:grpSp>
          <p:nvGrpSpPr>
            <p:cNvPr id="25" name="Группа 24"/>
            <p:cNvGrpSpPr/>
            <p:nvPr/>
          </p:nvGrpSpPr>
          <p:grpSpPr>
            <a:xfrm>
              <a:off x="6436804" y="4784140"/>
              <a:ext cx="3528392" cy="2124236"/>
              <a:chOff x="1144216" y="2460340"/>
              <a:chExt cx="3528392" cy="2124236"/>
            </a:xfrm>
          </p:grpSpPr>
          <p:sp>
            <p:nvSpPr>
              <p:cNvPr id="27" name="Скругленный прямоугольник 26"/>
              <p:cNvSpPr/>
              <p:nvPr/>
            </p:nvSpPr>
            <p:spPr>
              <a:xfrm>
                <a:off x="1144216" y="2784376"/>
                <a:ext cx="3240360" cy="1800200"/>
              </a:xfrm>
              <a:prstGeom prst="roundRect">
                <a:avLst/>
              </a:prstGeom>
              <a:noFill/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bg2">
                      <a:lumMod val="25000"/>
                    </a:schemeClr>
                  </a:solidFill>
                </a:endParaRPr>
              </a:p>
            </p:txBody>
          </p:sp>
          <p:sp>
            <p:nvSpPr>
              <p:cNvPr id="26" name="Скругленный прямоугольник 25"/>
              <p:cNvSpPr/>
              <p:nvPr/>
            </p:nvSpPr>
            <p:spPr>
              <a:xfrm>
                <a:off x="2368352" y="2460340"/>
                <a:ext cx="2304256" cy="648072"/>
              </a:xfrm>
              <a:prstGeom prst="roundRect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800" b="1" dirty="0" smtClean="0">
                    <a:solidFill>
                      <a:schemeClr val="bg2">
                        <a:lumMod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писание задолженности</a:t>
                </a:r>
                <a:endParaRPr lang="ru-RU" sz="1800" b="1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35" name="Прямоугольник 34"/>
            <p:cNvSpPr/>
            <p:nvPr/>
          </p:nvSpPr>
          <p:spPr>
            <a:xfrm>
              <a:off x="6478688" y="5434172"/>
              <a:ext cx="3235308" cy="138499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словие – сохранение численности не менее 80% в каждом месяце к 01.06.2020</a:t>
              </a:r>
            </a:p>
            <a:p>
              <a:pPr marL="285750" indent="-285750">
                <a:buFont typeface="Wingdings" panose="05000000000000000000" pitchFamily="2" charset="2"/>
                <a:buChar char="ü"/>
              </a:pPr>
              <a:r>
                <a:rPr lang="ru-RU" sz="1400" b="1" dirty="0" smtClean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До 01.04.2021 списание Банком задолженности по кредитной сделке </a:t>
              </a:r>
              <a:endParaRPr lang="ru-RU" sz="14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0" name="Стрелка углом 39"/>
          <p:cNvSpPr/>
          <p:nvPr/>
        </p:nvSpPr>
        <p:spPr>
          <a:xfrm rot="5400000">
            <a:off x="5031927" y="1128734"/>
            <a:ext cx="442957" cy="2645513"/>
          </a:xfrm>
          <a:prstGeom prst="bentArrow">
            <a:avLst>
              <a:gd name="adj1" fmla="val 6445"/>
              <a:gd name="adj2" fmla="val 14692"/>
              <a:gd name="adj3" fmla="val 33247"/>
              <a:gd name="adj4" fmla="val 4375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1" name="Стрелка углом 40"/>
          <p:cNvSpPr/>
          <p:nvPr/>
        </p:nvSpPr>
        <p:spPr>
          <a:xfrm rot="5400000">
            <a:off x="7371281" y="3183086"/>
            <a:ext cx="1782250" cy="1381343"/>
          </a:xfrm>
          <a:prstGeom prst="bentArrow">
            <a:avLst>
              <a:gd name="adj1" fmla="val 2137"/>
              <a:gd name="adj2" fmla="val 6066"/>
              <a:gd name="adj3" fmla="val 14243"/>
              <a:gd name="adj4" fmla="val 4375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2" name="Стрелка углом 41"/>
          <p:cNvSpPr/>
          <p:nvPr/>
        </p:nvSpPr>
        <p:spPr>
          <a:xfrm rot="5400000">
            <a:off x="9864503" y="5109591"/>
            <a:ext cx="1668231" cy="1548172"/>
          </a:xfrm>
          <a:prstGeom prst="bentArrow">
            <a:avLst>
              <a:gd name="adj1" fmla="val 2137"/>
              <a:gd name="adj2" fmla="val 6066"/>
              <a:gd name="adj3" fmla="val 14243"/>
              <a:gd name="adj4" fmla="val 43750"/>
            </a:avLst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7" name="Стрелка вниз 46"/>
          <p:cNvSpPr/>
          <p:nvPr/>
        </p:nvSpPr>
        <p:spPr>
          <a:xfrm>
            <a:off x="4919978" y="4797204"/>
            <a:ext cx="144016" cy="1599074"/>
          </a:xfrm>
          <a:prstGeom prst="downArrow">
            <a:avLst>
              <a:gd name="adj1" fmla="val 16931"/>
              <a:gd name="adj2" fmla="val 99604"/>
            </a:avLst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8" name="Стрелка вниз 47"/>
          <p:cNvSpPr/>
          <p:nvPr/>
        </p:nvSpPr>
        <p:spPr>
          <a:xfrm>
            <a:off x="1967650" y="4030210"/>
            <a:ext cx="144016" cy="2687583"/>
          </a:xfrm>
          <a:prstGeom prst="downArrow">
            <a:avLst>
              <a:gd name="adj1" fmla="val 16930"/>
              <a:gd name="adj2" fmla="val 99604"/>
            </a:avLst>
          </a:prstGeom>
          <a:solidFill>
            <a:srgbClr val="FFC000"/>
          </a:solidFill>
          <a:ln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3" name="Скругленная прямоугольная выноска 2"/>
          <p:cNvSpPr/>
          <p:nvPr/>
        </p:nvSpPr>
        <p:spPr>
          <a:xfrm>
            <a:off x="167450" y="4976795"/>
            <a:ext cx="1708508" cy="1621639"/>
          </a:xfrm>
          <a:prstGeom prst="wedgeRoundRectCallout">
            <a:avLst>
              <a:gd name="adj1" fmla="val 56917"/>
              <a:gd name="adj2" fmla="val -92420"/>
              <a:gd name="adj3" fmla="val 16667"/>
            </a:avLst>
          </a:prstGeom>
          <a:ln w="63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</a:t>
            </a:r>
            <a:r>
              <a:rPr lang="ru-RU" sz="1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енности менее 80</a:t>
            </a: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в каждом месяце к 01.06.2020</a:t>
            </a:r>
            <a:endParaRPr lang="ru-RU" sz="10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а процедура банкротств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риостановлена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204085" y="4929884"/>
            <a:ext cx="17938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7" name="Скругленная прямоугольная выноска 6"/>
          <p:cNvSpPr/>
          <p:nvPr/>
        </p:nvSpPr>
        <p:spPr>
          <a:xfrm>
            <a:off x="9673334" y="2230011"/>
            <a:ext cx="2663468" cy="2305781"/>
          </a:xfrm>
          <a:prstGeom prst="wedgeRoundRectCallout">
            <a:avLst>
              <a:gd name="adj1" fmla="val 2618"/>
              <a:gd name="adj2" fmla="val 96884"/>
              <a:gd name="adj3" fmla="val 16667"/>
            </a:avLst>
          </a:prstGeom>
          <a:ln w="63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endParaRPr lang="ru-RU" sz="900" b="1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9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9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</a:t>
            </a: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овия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численности не менее 80% в каждом месяце к 01.06.2020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яя зарплата в течение периода наблюдения – не менее МРОТ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м осуществлено списание задолженности</a:t>
            </a:r>
            <a:endParaRPr lang="ru-RU" sz="10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9757584" y="2449262"/>
            <a:ext cx="350336" cy="735747"/>
          </a:xfrm>
          <a:prstGeom prst="ellipse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solidFill>
                  <a:schemeClr val="accent3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</a:t>
            </a:r>
            <a:endParaRPr lang="ru-RU" sz="2800" b="1" dirty="0">
              <a:solidFill>
                <a:schemeClr val="accent3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Скругленная прямоугольная выноска 44"/>
          <p:cNvSpPr/>
          <p:nvPr/>
        </p:nvSpPr>
        <p:spPr>
          <a:xfrm>
            <a:off x="2456100" y="4764883"/>
            <a:ext cx="1980183" cy="1395756"/>
          </a:xfrm>
          <a:prstGeom prst="wedgeRoundRectCallout">
            <a:avLst>
              <a:gd name="adj1" fmla="val 76736"/>
              <a:gd name="adj2" fmla="val -30891"/>
              <a:gd name="adj3" fmla="val 16667"/>
            </a:avLst>
          </a:prstGeom>
          <a:ln w="63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 </a:t>
            </a:r>
            <a:r>
              <a:rPr lang="ru-RU" sz="1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исленности менее 80</a:t>
            </a: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% в каждом месяце к 01.06.2020</a:t>
            </a:r>
            <a:endParaRPr lang="ru-RU" sz="10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ведена процедура банкротств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риостановлена</a:t>
            </a:r>
          </a:p>
        </p:txBody>
      </p:sp>
      <p:sp>
        <p:nvSpPr>
          <p:cNvPr id="46" name="Прямоугольник 45"/>
          <p:cNvSpPr/>
          <p:nvPr/>
        </p:nvSpPr>
        <p:spPr>
          <a:xfrm flipH="1">
            <a:off x="2456100" y="4978147"/>
            <a:ext cx="28710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276094" y="8659138"/>
            <a:ext cx="511130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Если после базового периода -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.12.20, 28.01.21, </a:t>
            </a:r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.03.21</a:t>
            </a:r>
          </a:p>
          <a:p>
            <a:r>
              <a:rPr lang="ru-RU" sz="11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сли после периода наблюдения 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30.04.21, 30.05.21, 30.06.21</a:t>
            </a:r>
          </a:p>
        </p:txBody>
      </p:sp>
      <p:sp>
        <p:nvSpPr>
          <p:cNvPr id="51" name="Скругленная прямоугольная выноска 50"/>
          <p:cNvSpPr/>
          <p:nvPr/>
        </p:nvSpPr>
        <p:spPr>
          <a:xfrm>
            <a:off x="6438026" y="7591950"/>
            <a:ext cx="1764196" cy="1234452"/>
          </a:xfrm>
          <a:prstGeom prst="wedgeRoundRectCallout">
            <a:avLst>
              <a:gd name="adj1" fmla="val 27348"/>
              <a:gd name="adj2" fmla="val -124746"/>
              <a:gd name="adj3" fmla="val 16667"/>
            </a:avLst>
          </a:prstGeom>
          <a:ln w="6350"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бъем списания </a:t>
            </a:r>
            <a:r>
              <a:rPr lang="ru-RU" sz="1000" b="1" dirty="0" err="1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авлением</a:t>
            </a: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696 не определен; </a:t>
            </a:r>
            <a:r>
              <a:rPr lang="ru-RU" sz="10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мальное </a:t>
            </a:r>
            <a:r>
              <a:rPr lang="ru-RU" sz="1000" b="1" dirty="0" err="1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ктование</a:t>
            </a:r>
            <a:r>
              <a:rPr lang="ru-RU" sz="10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списание всей задолженности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6604983" y="7459918"/>
            <a:ext cx="17584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</a:p>
        </p:txBody>
      </p:sp>
    </p:spTree>
    <p:extLst>
      <p:ext uri="{BB962C8B-B14F-4D97-AF65-F5344CB8AC3E}">
        <p14:creationId xmlns:p14="http://schemas.microsoft.com/office/powerpoint/2010/main" val="1130096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5520" y="748155"/>
            <a:ext cx="7665480" cy="887520"/>
          </a:xfrm>
        </p:spPr>
        <p:txBody>
          <a:bodyPr>
            <a:noAutofit/>
          </a:bodyPr>
          <a:lstStyle/>
          <a:p>
            <a:pPr algn="l"/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обенности льготного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ования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а в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мках Постановления Правительства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Ф от 16.05.2020 </a:t>
            </a:r>
            <a:r>
              <a:rPr lang="ru-RU" sz="1800" b="1" dirty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№ </a:t>
            </a:r>
            <a:r>
              <a:rPr lang="ru-RU" sz="1800" b="1" dirty="0" smtClean="0">
                <a:solidFill>
                  <a:schemeClr val="bg2">
                    <a:lumMod val="1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6</a:t>
            </a:r>
            <a:endParaRPr lang="ru-RU" sz="1800" b="1" dirty="0">
              <a:solidFill>
                <a:schemeClr val="bg2">
                  <a:lumMod val="1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48716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grpSp>
        <p:nvGrpSpPr>
          <p:cNvPr id="127" name="Группа 126"/>
          <p:cNvGrpSpPr/>
          <p:nvPr/>
        </p:nvGrpSpPr>
        <p:grpSpPr>
          <a:xfrm>
            <a:off x="401752" y="4759599"/>
            <a:ext cx="12098573" cy="1872015"/>
            <a:chOff x="448716" y="1918497"/>
            <a:chExt cx="12098573" cy="1872015"/>
          </a:xfrm>
        </p:grpSpPr>
        <p:grpSp>
          <p:nvGrpSpPr>
            <p:cNvPr id="128" name="Группа 127"/>
            <p:cNvGrpSpPr/>
            <p:nvPr/>
          </p:nvGrpSpPr>
          <p:grpSpPr>
            <a:xfrm>
              <a:off x="448716" y="1918497"/>
              <a:ext cx="2279676" cy="804751"/>
              <a:chOff x="139459" y="4890504"/>
              <a:chExt cx="2139969" cy="804751"/>
            </a:xfrm>
          </p:grpSpPr>
          <p:grpSp>
            <p:nvGrpSpPr>
              <p:cNvPr id="130" name="Группа 129"/>
              <p:cNvGrpSpPr/>
              <p:nvPr/>
            </p:nvGrpSpPr>
            <p:grpSpPr>
              <a:xfrm>
                <a:off x="177329" y="4964171"/>
                <a:ext cx="305386" cy="305386"/>
                <a:chOff x="1043608" y="1302668"/>
                <a:chExt cx="792088" cy="792088"/>
              </a:xfrm>
            </p:grpSpPr>
            <p:sp>
              <p:nvSpPr>
                <p:cNvPr id="133" name="Овал 132"/>
                <p:cNvSpPr/>
                <p:nvPr/>
              </p:nvSpPr>
              <p:spPr>
                <a:xfrm>
                  <a:off x="1043608" y="1302668"/>
                  <a:ext cx="792088" cy="792088"/>
                </a:xfrm>
                <a:prstGeom prst="ellipse">
                  <a:avLst/>
                </a:prstGeom>
                <a:solidFill>
                  <a:srgbClr val="FFC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88445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pic>
              <p:nvPicPr>
                <p:cNvPr id="134" name="Рисунок 133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52923" y="1466750"/>
                  <a:ext cx="530600" cy="530600"/>
                </a:xfrm>
                <a:prstGeom prst="rect">
                  <a:avLst/>
                </a:prstGeom>
              </p:spPr>
            </p:pic>
          </p:grpSp>
          <p:sp>
            <p:nvSpPr>
              <p:cNvPr id="131" name="Прямоугольник 130"/>
              <p:cNvSpPr/>
              <p:nvPr/>
            </p:nvSpPr>
            <p:spPr>
              <a:xfrm>
                <a:off x="486973" y="4945532"/>
                <a:ext cx="1625167" cy="523220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defTabSz="884452"/>
                <a:r>
                  <a:rPr lang="ru-RU" sz="1400" b="1" kern="0" dirty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/>
                    <a:cs typeface="Arial" panose="020B0604020202020204" pitchFamily="34" charset="0"/>
                  </a:rPr>
                  <a:t>Процентная ставка</a:t>
                </a:r>
              </a:p>
            </p:txBody>
          </p:sp>
          <p:sp>
            <p:nvSpPr>
              <p:cNvPr id="132" name="Прямоугольник 131"/>
              <p:cNvSpPr/>
              <p:nvPr/>
            </p:nvSpPr>
            <p:spPr>
              <a:xfrm>
                <a:off x="139459" y="4890504"/>
                <a:ext cx="2139969" cy="804751"/>
              </a:xfrm>
              <a:prstGeom prst="rect">
                <a:avLst/>
              </a:prstGeom>
              <a:noFill/>
              <a:ln w="19050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88445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00" b="0" i="0" u="none" strike="noStrike" kern="0" cap="none" spc="0" normalizeH="0" baseline="0" noProof="0" smtClean="0">
                  <a:ln>
                    <a:noFill/>
                  </a:ln>
                  <a:solidFill>
                    <a:srgbClr val="42522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29" name="Прямоугольник 128"/>
            <p:cNvSpPr/>
            <p:nvPr/>
          </p:nvSpPr>
          <p:spPr>
            <a:xfrm>
              <a:off x="2916763" y="1918497"/>
              <a:ext cx="9630526" cy="1872015"/>
            </a:xfrm>
            <a:prstGeom prst="rect">
              <a:avLst/>
            </a:prstGeom>
            <a:noFill/>
            <a:ln w="19050" cap="flat" cmpd="sng" algn="ctr">
              <a:solidFill>
                <a:srgbClr val="B7CE88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285750" lvl="0" indent="-285750" defTabSz="884452">
                <a:buFont typeface="Wingdings" panose="05000000000000000000" pitchFamily="2" charset="2"/>
                <a:buChar char="ü"/>
              </a:pP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Льготная ставка 2 </a:t>
              </a: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% годовых – в течение базового периода </a:t>
              </a:r>
              <a:endParaRPr lang="ru-RU" sz="1300" b="1" kern="0" dirty="0" smtClean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endParaRPr>
            </a:p>
            <a:p>
              <a:pPr marL="288000" lvl="0" defTabSz="884452"/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кредитования и </a:t>
              </a: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периода </a:t>
              </a: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наблюдения</a:t>
              </a:r>
            </a:p>
            <a:p>
              <a:pPr marL="288000" lvl="0" defTabSz="884452"/>
              <a:r>
                <a:rPr kumimoji="0" lang="ru-RU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B49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Проценты за пользование кредитом Заемщиком не уплачиваются</a:t>
              </a:r>
            </a:p>
            <a:p>
              <a:pPr marL="288000" lvl="0" defTabSz="884452"/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Включаются в основной долг:</a:t>
              </a:r>
            </a:p>
            <a:p>
              <a:pPr marL="573750" lvl="0" indent="-285750" defTabSz="884452">
                <a:buFont typeface="Arial" panose="020B0604020202020204" pitchFamily="34" charset="0"/>
                <a:buChar char="•"/>
              </a:pP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в конце базового периода – за базовый период (не более 6 мес.)</a:t>
              </a:r>
            </a:p>
            <a:p>
              <a:pPr marL="573750" lvl="0" indent="-285750" defTabSz="884452">
                <a:buFont typeface="Arial" panose="020B0604020202020204" pitchFamily="34" charset="0"/>
                <a:buChar char="•"/>
              </a:pP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в конце периода наблюдения – за период наблюдения (4 мес.) </a:t>
              </a:r>
              <a:endParaRPr kumimoji="0" lang="ru-RU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3B491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  <a:p>
              <a:pPr marL="285750" lvl="0" indent="-285750" defTabSz="884452">
                <a:buFont typeface="Wingdings" panose="05000000000000000000" pitchFamily="2" charset="2"/>
                <a:buChar char="ü"/>
              </a:pPr>
              <a:endParaRPr kumimoji="0" lang="ru-RU" sz="900" b="1" i="0" u="none" strike="noStrike" kern="0" cap="none" spc="0" normalizeH="0" baseline="0" noProof="0" dirty="0" smtClean="0">
                <a:ln>
                  <a:noFill/>
                </a:ln>
                <a:solidFill>
                  <a:srgbClr val="3B491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  <a:p>
              <a:pPr marL="285750" lvl="0" indent="-285750" defTabSz="884452">
                <a:buFont typeface="Wingdings" panose="05000000000000000000" pitchFamily="2" charset="2"/>
                <a:buChar char="ü"/>
              </a:pPr>
              <a:r>
                <a:rPr kumimoji="0" lang="ru-RU" sz="13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3B49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Коммерческая (стандартная)</a:t>
              </a:r>
              <a:r>
                <a:rPr kumimoji="0" lang="ru-RU" sz="1300" b="1" i="0" u="none" strike="noStrike" kern="0" cap="none" spc="0" normalizeH="0" noProof="0" dirty="0" smtClean="0">
                  <a:ln>
                    <a:noFill/>
                  </a:ln>
                  <a:solidFill>
                    <a:srgbClr val="3B491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rPr>
                <a:t> ставка – в течение периода погашения</a:t>
              </a:r>
            </a:p>
            <a:p>
              <a:pPr marL="288000" lvl="0" defTabSz="884452"/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Уплачиваются Заемщиком в ежемесячно</a:t>
              </a:r>
            </a:p>
            <a:p>
              <a:pPr marL="288000" lvl="0" defTabSz="884452"/>
              <a:endParaRPr lang="ru-RU" sz="1300" b="1" kern="0" dirty="0" smtClean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endParaRPr>
            </a:p>
            <a:p>
              <a:pPr lvl="0" algn="just" defTabSz="884452"/>
              <a:endParaRPr kumimoji="0" lang="ru-RU" sz="1300" b="1" i="0" u="none" strike="noStrike" kern="0" cap="none" spc="0" normalizeH="0" baseline="0" noProof="0" dirty="0">
                <a:ln>
                  <a:noFill/>
                </a:ln>
                <a:solidFill>
                  <a:srgbClr val="3B491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  <a:p>
              <a:pPr lvl="0" algn="just" defTabSz="884452"/>
              <a:endParaRPr kumimoji="0" lang="ru-RU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3B491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35" name="Группа 134"/>
          <p:cNvGrpSpPr/>
          <p:nvPr/>
        </p:nvGrpSpPr>
        <p:grpSpPr>
          <a:xfrm>
            <a:off x="442094" y="7047855"/>
            <a:ext cx="12098573" cy="804751"/>
            <a:chOff x="448716" y="1918497"/>
            <a:chExt cx="12098573" cy="804751"/>
          </a:xfrm>
        </p:grpSpPr>
        <p:grpSp>
          <p:nvGrpSpPr>
            <p:cNvPr id="136" name="Группа 135"/>
            <p:cNvGrpSpPr/>
            <p:nvPr/>
          </p:nvGrpSpPr>
          <p:grpSpPr>
            <a:xfrm>
              <a:off x="448716" y="1918497"/>
              <a:ext cx="2279676" cy="804751"/>
              <a:chOff x="139459" y="4890504"/>
              <a:chExt cx="2139969" cy="804751"/>
            </a:xfrm>
          </p:grpSpPr>
          <p:grpSp>
            <p:nvGrpSpPr>
              <p:cNvPr id="138" name="Группа 137"/>
              <p:cNvGrpSpPr/>
              <p:nvPr/>
            </p:nvGrpSpPr>
            <p:grpSpPr>
              <a:xfrm>
                <a:off x="177329" y="4964171"/>
                <a:ext cx="305386" cy="305386"/>
                <a:chOff x="1043608" y="1302668"/>
                <a:chExt cx="792088" cy="792088"/>
              </a:xfrm>
            </p:grpSpPr>
            <p:sp>
              <p:nvSpPr>
                <p:cNvPr id="141" name="Овал 140"/>
                <p:cNvSpPr/>
                <p:nvPr/>
              </p:nvSpPr>
              <p:spPr>
                <a:xfrm>
                  <a:off x="1043608" y="1302668"/>
                  <a:ext cx="792088" cy="792088"/>
                </a:xfrm>
                <a:prstGeom prst="ellipse">
                  <a:avLst/>
                </a:prstGeom>
                <a:solidFill>
                  <a:srgbClr val="FFC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88445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pic>
              <p:nvPicPr>
                <p:cNvPr id="142" name="Рисунок 141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52922" y="1466749"/>
                  <a:ext cx="530600" cy="530602"/>
                </a:xfrm>
                <a:prstGeom prst="rect">
                  <a:avLst/>
                </a:prstGeom>
              </p:spPr>
            </p:pic>
          </p:grpSp>
          <p:sp>
            <p:nvSpPr>
              <p:cNvPr id="139" name="Прямоугольник 138"/>
              <p:cNvSpPr/>
              <p:nvPr/>
            </p:nvSpPr>
            <p:spPr>
              <a:xfrm>
                <a:off x="486974" y="4985102"/>
                <a:ext cx="1625167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884452"/>
                <a:r>
                  <a:rPr lang="ru-RU" sz="1400" b="1" kern="0" dirty="0" smtClean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/>
                    <a:cs typeface="Arial" panose="020B0604020202020204" pitchFamily="34" charset="0"/>
                  </a:rPr>
                  <a:t>Обеспечение</a:t>
                </a:r>
                <a:endParaRPr lang="ru-RU" sz="1400" b="1" kern="0" dirty="0">
                  <a:solidFill>
                    <a:schemeClr val="bg2">
                      <a:lumMod val="10000"/>
                    </a:schemeClr>
                  </a:solidFill>
                  <a:latin typeface="Arial" panose="020B0604020202020204"/>
                  <a:cs typeface="Arial" panose="020B0604020202020204" pitchFamily="34" charset="0"/>
                </a:endParaRPr>
              </a:p>
            </p:txBody>
          </p:sp>
          <p:sp>
            <p:nvSpPr>
              <p:cNvPr id="140" name="Прямоугольник 139"/>
              <p:cNvSpPr/>
              <p:nvPr/>
            </p:nvSpPr>
            <p:spPr>
              <a:xfrm>
                <a:off x="139459" y="4890504"/>
                <a:ext cx="2139969" cy="804751"/>
              </a:xfrm>
              <a:prstGeom prst="rect">
                <a:avLst/>
              </a:prstGeom>
              <a:noFill/>
              <a:ln w="19050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88445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00" b="0" i="0" u="none" strike="noStrike" kern="0" cap="none" spc="0" normalizeH="0" baseline="0" noProof="0" smtClean="0">
                  <a:ln>
                    <a:noFill/>
                  </a:ln>
                  <a:solidFill>
                    <a:srgbClr val="42522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37" name="Прямоугольник 136"/>
            <p:cNvSpPr/>
            <p:nvPr/>
          </p:nvSpPr>
          <p:spPr>
            <a:xfrm>
              <a:off x="2916763" y="1918498"/>
              <a:ext cx="9630526" cy="804750"/>
            </a:xfrm>
            <a:prstGeom prst="rect">
              <a:avLst/>
            </a:prstGeom>
            <a:noFill/>
            <a:ln w="19050" cap="flat" cmpd="sng" algn="ctr">
              <a:solidFill>
                <a:srgbClr val="B7CE88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285750" indent="-285750" defTabSz="884452">
                <a:spcAft>
                  <a:spcPts val="100"/>
                </a:spcAft>
                <a:buFont typeface="Wingdings" panose="05000000000000000000" pitchFamily="2" charset="2"/>
                <a:buChar char="ü"/>
              </a:pP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В качестве основного обеспечения по кредитной сделке </a:t>
              </a: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может </a:t>
              </a: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быть принято поручительство Государственной корпорации развития «ВЭБ.РФ»</a:t>
              </a:r>
            </a:p>
            <a:p>
              <a:pPr lvl="0" defTabSz="884452"/>
              <a:endParaRPr lang="ru-RU" sz="1300" b="1" kern="0" dirty="0" smtClean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endParaRPr>
            </a:p>
          </p:txBody>
        </p:sp>
      </p:grpSp>
      <p:sp>
        <p:nvSpPr>
          <p:cNvPr id="148" name="Скругленный прямоугольник 147"/>
          <p:cNvSpPr/>
          <p:nvPr/>
        </p:nvSpPr>
        <p:spPr bwMode="auto">
          <a:xfrm>
            <a:off x="9281120" y="4853881"/>
            <a:ext cx="3022827" cy="1594142"/>
          </a:xfrm>
          <a:prstGeom prst="roundRect">
            <a:avLst>
              <a:gd name="adj" fmla="val 0"/>
            </a:avLst>
          </a:prstGeom>
          <a:noFill/>
          <a:ln>
            <a:solidFill>
              <a:srgbClr val="FFC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b"/>
          <a:lstStyle/>
          <a:p>
            <a:pPr defTabSz="884452"/>
            <a:r>
              <a:rPr lang="ru-RU" sz="2400" b="1" kern="0" dirty="0" smtClean="0">
                <a:solidFill>
                  <a:srgbClr val="FF0000"/>
                </a:solidFill>
                <a:latin typeface="Arial" panose="020B0604020202020204"/>
                <a:cs typeface="Arial" panose="020B0604020202020204" pitchFamily="34" charset="0"/>
              </a:rPr>
              <a:t>!</a:t>
            </a:r>
            <a:r>
              <a:rPr lang="ru-RU" sz="1300" b="1" kern="0" dirty="0" smtClean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rPr>
              <a:t> Основания изменения льготной ставки на коммерческую:</a:t>
            </a:r>
          </a:p>
          <a:p>
            <a:pPr marL="285750" indent="-285750" defTabSz="884452">
              <a:buFont typeface="Wingdings" panose="05000000000000000000" pitchFamily="2" charset="2"/>
              <a:buChar char="§"/>
            </a:pPr>
            <a:r>
              <a:rPr lang="ru-RU" sz="1300" b="1" kern="0" dirty="0" smtClean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rPr>
              <a:t>нецелевое использование кредита</a:t>
            </a:r>
          </a:p>
          <a:p>
            <a:pPr marL="285750" indent="-285750" defTabSz="884452">
              <a:buFont typeface="Wingdings" panose="05000000000000000000" pitchFamily="2" charset="2"/>
              <a:buChar char="§"/>
            </a:pPr>
            <a:r>
              <a:rPr lang="ru-RU" sz="1300" b="1" kern="0" dirty="0" smtClean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rPr>
              <a:t>отказ в субсидировании</a:t>
            </a:r>
          </a:p>
          <a:p>
            <a:pPr marL="285750" indent="-285750" defTabSz="884452">
              <a:buFont typeface="Wingdings" panose="05000000000000000000" pitchFamily="2" charset="2"/>
              <a:buChar char="§"/>
            </a:pPr>
            <a:r>
              <a:rPr lang="ru-RU" sz="1300" b="1" kern="0" dirty="0" smtClean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rPr>
              <a:t>требование вернуть полученную субсидию</a:t>
            </a:r>
            <a:endParaRPr lang="ru-RU" sz="1300" b="1" kern="0" dirty="0">
              <a:solidFill>
                <a:srgbClr val="3B491F"/>
              </a:solidFill>
              <a:latin typeface="Arial" panose="020B0604020202020204"/>
              <a:cs typeface="Arial" panose="020B0604020202020204" pitchFamily="34" charset="0"/>
            </a:endParaRP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47" name="Группа 46"/>
          <p:cNvGrpSpPr/>
          <p:nvPr/>
        </p:nvGrpSpPr>
        <p:grpSpPr>
          <a:xfrm>
            <a:off x="418791" y="2956868"/>
            <a:ext cx="12102687" cy="1483691"/>
            <a:chOff x="448716" y="1918497"/>
            <a:chExt cx="12000756" cy="1483691"/>
          </a:xfrm>
        </p:grpSpPr>
        <p:grpSp>
          <p:nvGrpSpPr>
            <p:cNvPr id="48" name="Группа 47"/>
            <p:cNvGrpSpPr/>
            <p:nvPr/>
          </p:nvGrpSpPr>
          <p:grpSpPr>
            <a:xfrm>
              <a:off x="448716" y="1918497"/>
              <a:ext cx="2279676" cy="804751"/>
              <a:chOff x="139459" y="4890504"/>
              <a:chExt cx="2139969" cy="804751"/>
            </a:xfrm>
          </p:grpSpPr>
          <p:grpSp>
            <p:nvGrpSpPr>
              <p:cNvPr id="50" name="Группа 49"/>
              <p:cNvGrpSpPr/>
              <p:nvPr/>
            </p:nvGrpSpPr>
            <p:grpSpPr>
              <a:xfrm>
                <a:off x="177329" y="4964171"/>
                <a:ext cx="305386" cy="305386"/>
                <a:chOff x="1043608" y="1302668"/>
                <a:chExt cx="792088" cy="792088"/>
              </a:xfrm>
            </p:grpSpPr>
            <p:sp>
              <p:nvSpPr>
                <p:cNvPr id="53" name="Овал 52"/>
                <p:cNvSpPr/>
                <p:nvPr/>
              </p:nvSpPr>
              <p:spPr>
                <a:xfrm>
                  <a:off x="1043608" y="1302668"/>
                  <a:ext cx="792088" cy="792088"/>
                </a:xfrm>
                <a:prstGeom prst="ellipse">
                  <a:avLst/>
                </a:prstGeom>
                <a:solidFill>
                  <a:srgbClr val="FFC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884452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13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+mn-cs"/>
                  </a:endParaRPr>
                </a:p>
              </p:txBody>
            </p:sp>
            <p:pic>
              <p:nvPicPr>
                <p:cNvPr id="54" name="Рисунок 53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BEBA8EAE-BF5A-486C-A8C5-ECC9F3942E4B}">
                      <a14:imgProps xmlns:a14="http://schemas.microsoft.com/office/drawing/2010/main">
                        <a14:imgLayer r:embed="rId3">
                          <a14:imgEffect>
                            <a14:brightnessContrast bright="1000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152923" y="1466750"/>
                  <a:ext cx="530600" cy="530600"/>
                </a:xfrm>
                <a:prstGeom prst="rect">
                  <a:avLst/>
                </a:prstGeom>
              </p:spPr>
            </p:pic>
          </p:grpSp>
          <p:sp>
            <p:nvSpPr>
              <p:cNvPr id="51" name="Прямоугольник 50"/>
              <p:cNvSpPr/>
              <p:nvPr/>
            </p:nvSpPr>
            <p:spPr>
              <a:xfrm>
                <a:off x="519357" y="4972564"/>
                <a:ext cx="1625167" cy="307777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884452"/>
                <a:r>
                  <a:rPr lang="ru-RU" sz="1400" b="1" kern="0" dirty="0" smtClean="0">
                    <a:solidFill>
                      <a:schemeClr val="bg2">
                        <a:lumMod val="10000"/>
                      </a:schemeClr>
                    </a:solidFill>
                    <a:latin typeface="Arial" panose="020B0604020202020204"/>
                    <a:cs typeface="Arial" panose="020B0604020202020204" pitchFamily="34" charset="0"/>
                  </a:rPr>
                  <a:t>Порядок выдачи</a:t>
                </a:r>
                <a:endParaRPr lang="ru-RU" sz="1400" b="1" kern="0" dirty="0">
                  <a:solidFill>
                    <a:schemeClr val="bg2">
                      <a:lumMod val="10000"/>
                    </a:schemeClr>
                  </a:solidFill>
                  <a:latin typeface="Arial" panose="020B0604020202020204"/>
                  <a:cs typeface="Arial" panose="020B0604020202020204" pitchFamily="34" charset="0"/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139459" y="4890504"/>
                <a:ext cx="2139969" cy="804751"/>
              </a:xfrm>
              <a:prstGeom prst="rect">
                <a:avLst/>
              </a:prstGeom>
              <a:noFill/>
              <a:ln w="19050" cap="flat" cmpd="sng" algn="ctr">
                <a:solidFill>
                  <a:srgbClr val="FFC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884452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300" b="0" i="0" u="none" strike="noStrike" kern="0" cap="none" spc="0" normalizeH="0" baseline="0" noProof="0" smtClean="0">
                  <a:ln>
                    <a:noFill/>
                  </a:ln>
                  <a:solidFill>
                    <a:srgbClr val="425222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49" name="Прямоугольник 48"/>
            <p:cNvSpPr/>
            <p:nvPr/>
          </p:nvSpPr>
          <p:spPr>
            <a:xfrm>
              <a:off x="2916763" y="1918497"/>
              <a:ext cx="9532709" cy="1483691"/>
            </a:xfrm>
            <a:prstGeom prst="rect">
              <a:avLst/>
            </a:prstGeom>
            <a:noFill/>
            <a:ln w="19050" cap="flat" cmpd="sng" algn="ctr">
              <a:solidFill>
                <a:srgbClr val="B7CE88"/>
              </a:solidFill>
              <a:prstDash val="solid"/>
              <a:miter lim="800000"/>
            </a:ln>
            <a:effectLst/>
          </p:spPr>
          <p:txBody>
            <a:bodyPr rtlCol="0" anchor="t"/>
            <a:lstStyle/>
            <a:p>
              <a:pPr marL="285750" lvl="0" indent="-285750" defTabSz="884452">
                <a:buFont typeface="Wingdings" panose="05000000000000000000" pitchFamily="2" charset="2"/>
                <a:buChar char="ü"/>
              </a:pP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Выдача кредитных средств осуществляется ежемесячно </a:t>
              </a:r>
              <a:endParaRPr lang="ru-RU" sz="1300" b="1" kern="0" dirty="0" smtClean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endParaRPr>
            </a:p>
            <a:p>
              <a:pPr marL="285750" lvl="0" indent="-285750" defTabSz="884452">
                <a:buFont typeface="Wingdings" panose="05000000000000000000" pitchFamily="2" charset="2"/>
                <a:buChar char="ü"/>
              </a:pP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Выдача кредитных средств в течение периода наблюдения и периода погашения не </a:t>
              </a: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осуществляется</a:t>
              </a:r>
            </a:p>
            <a:p>
              <a:pPr marL="285750" lvl="0" indent="-285750" defTabSz="884452">
                <a:buFont typeface="Wingdings" panose="05000000000000000000" pitchFamily="2" charset="2"/>
                <a:buChar char="ü"/>
              </a:pP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Объем кредитных средств, </a:t>
              </a: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который может быть предоставлен </a:t>
              </a: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в </a:t>
              </a: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один календарный </a:t>
              </a: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месяц, </a:t>
              </a: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не может превышать произведение двукратного расчетного размера оплаты труда и численности работников </a:t>
              </a:r>
              <a:r>
                <a:rPr lang="ru-RU" sz="1300" b="1" kern="0" dirty="0" smtClean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Заемщика</a:t>
              </a:r>
              <a:endParaRPr lang="en-US" sz="1300" b="1" kern="0" dirty="0" smtClean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endParaRPr>
            </a:p>
            <a:p>
              <a:pPr marL="285750" indent="-285750" defTabSz="884452">
                <a:buFont typeface="Wingdings" panose="05000000000000000000" pitchFamily="2" charset="2"/>
                <a:buChar char="ü"/>
              </a:pPr>
              <a:r>
                <a:rPr lang="ru-RU" sz="1300" b="1" kern="0" dirty="0">
                  <a:solidFill>
                    <a:srgbClr val="3B491F"/>
                  </a:solidFill>
                  <a:latin typeface="Arial" panose="020B0604020202020204"/>
                  <a:cs typeface="Arial" panose="020B0604020202020204" pitchFamily="34" charset="0"/>
                </a:rPr>
                <a:t>Допускается выдача кредита на цели выдачи заработной платы Клиентом наличными денежными средствами.</a:t>
              </a:r>
              <a:endParaRPr lang="en-US" sz="1300" b="1" kern="0" dirty="0">
                <a:solidFill>
                  <a:srgbClr val="3B491F"/>
                </a:solidFill>
                <a:latin typeface="Arial" panose="020B0604020202020204"/>
                <a:cs typeface="Arial" panose="020B0604020202020204" pitchFamily="34" charset="0"/>
              </a:endParaRPr>
            </a:p>
            <a:p>
              <a:pPr marL="285750" lvl="0" indent="-285750" defTabSz="884452">
                <a:buFont typeface="Wingdings" panose="05000000000000000000" pitchFamily="2" charset="2"/>
                <a:buChar char="ü"/>
              </a:pPr>
              <a:endParaRPr kumimoji="0" lang="ru-RU" sz="1300" b="1" i="0" u="none" strike="noStrike" kern="0" cap="none" spc="0" normalizeH="0" baseline="0" noProof="0" dirty="0" smtClean="0">
                <a:ln>
                  <a:noFill/>
                </a:ln>
                <a:solidFill>
                  <a:srgbClr val="3B491F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157220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Заголовок 14"/>
          <p:cNvSpPr>
            <a:spLocks noGrp="1"/>
          </p:cNvSpPr>
          <p:nvPr>
            <p:ph type="title"/>
          </p:nvPr>
        </p:nvSpPr>
        <p:spPr>
          <a:xfrm>
            <a:off x="52187" y="3216424"/>
            <a:ext cx="6492629" cy="3252679"/>
          </a:xfrm>
        </p:spPr>
        <p:txBody>
          <a:bodyPr>
            <a:no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РИЛОЖЕНИЯ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1249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2238" y="711596"/>
            <a:ext cx="7462648" cy="864096"/>
          </a:xfrm>
        </p:spPr>
        <p:txBody>
          <a:bodyPr>
            <a:noAutofit/>
          </a:bodyPr>
          <a:lstStyle/>
          <a:p>
            <a:pPr algn="l"/>
            <a:r>
              <a:rPr lang="ru-RU" sz="1600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риложение 1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Реестр социально ориентированных некоммерческих организаций – получателей поддержки Минэкономразвития России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 algn="just">
              <a:buNone/>
            </a:pPr>
            <a:r>
              <a:rPr lang="ru-RU" sz="1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18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естр некоммерческих организаций, видом деятельности которых является</a:t>
            </a:r>
            <a:r>
              <a:rPr lang="ru-RU" sz="18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ru-RU" sz="18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ая поддержка и защита граждан</a:t>
            </a:r>
            <a:r>
              <a:rPr lang="ru-RU" sz="18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r>
              <a:rPr lang="ru-RU" sz="18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</a:t>
            </a:r>
            <a:r>
              <a:rPr lang="ru-RU" sz="18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 образования, просвещения, науки, культуры, искусства, </a:t>
            </a:r>
            <a:endParaRPr lang="ru-RU" sz="18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8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дравоохранения</a:t>
            </a:r>
            <a:r>
              <a:rPr lang="ru-RU" sz="18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рофилактики и охраны здоровья граждан, пропаганды здорового образа жизни, улучшения морально-психологического состояния граждан, </a:t>
            </a:r>
            <a:endParaRPr lang="ru-RU" sz="18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/>
            <a:r>
              <a:rPr lang="ru-RU" sz="18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изической </a:t>
            </a:r>
            <a:r>
              <a:rPr lang="ru-RU" sz="18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льтуры и спорта и содействие указанной деятельности, </a:t>
            </a:r>
            <a:r>
              <a:rPr lang="ru-RU" sz="18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действие </a:t>
            </a:r>
            <a:r>
              <a:rPr lang="ru-RU" sz="18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ховному развитию </a:t>
            </a:r>
            <a:r>
              <a:rPr lang="ru-RU" sz="18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чности</a:t>
            </a:r>
          </a:p>
          <a:p>
            <a:pPr marL="0" indent="0" algn="just">
              <a:buNone/>
            </a:pPr>
            <a:r>
              <a:rPr lang="ru-RU" sz="18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пример: </a:t>
            </a:r>
            <a:r>
              <a:rPr lang="ru-RU" sz="18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лаготворительные организации, фонд защиты детей, научно-методический центр, образовательные учреждения и пр.</a:t>
            </a:r>
          </a:p>
          <a:p>
            <a:pPr marL="0" indent="0" algn="just">
              <a:buNone/>
            </a:pPr>
            <a:endParaRPr lang="ru-RU" sz="1800" dirty="0" smtClean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8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естр </a:t>
            </a:r>
            <a:r>
              <a:rPr lang="ru-RU" sz="1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о </a:t>
            </a:r>
            <a:r>
              <a:rPr lang="ru-RU" sz="18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иентированных некоммерческих организаций, получающих меры поддержки с учетом введения ограничительных мер в связи с распространением новой </a:t>
            </a:r>
            <a:r>
              <a:rPr lang="ru-RU" sz="1800" dirty="0" err="1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ронавирусной</a:t>
            </a:r>
            <a:r>
              <a:rPr lang="ru-RU" sz="18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нфекции, </a:t>
            </a:r>
            <a:r>
              <a:rPr lang="ru-RU" sz="1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едется Минэкономразвития России и размещается </a:t>
            </a:r>
            <a:r>
              <a:rPr lang="ru-RU" sz="1800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информационно-телекоммуникационной сети Интернет </a:t>
            </a:r>
            <a:r>
              <a:rPr lang="ru-RU" sz="1800" b="1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сайте Минэкономразвития России по </a:t>
            </a:r>
            <a:r>
              <a:rPr lang="ru-RU" sz="18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ресу</a:t>
            </a:r>
            <a:r>
              <a:rPr lang="ru-RU" sz="1800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800" dirty="0" smtClean="0">
                <a:solidFill>
                  <a:srgbClr val="33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</a:t>
            </a:r>
            <a:r>
              <a:rPr lang="ru-RU" sz="1800" dirty="0">
                <a:solidFill>
                  <a:srgbClr val="33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//</a:t>
            </a:r>
            <a:r>
              <a:rPr lang="ru-RU" sz="1800" dirty="0" smtClean="0">
                <a:solidFill>
                  <a:srgbClr val="3333C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ld.economy.gov.ru/minec/activity/sections/SocOrientNoncomOrg/201411132</a:t>
            </a:r>
            <a:endParaRPr lang="ru-RU" sz="1700" dirty="0" smtClean="0">
              <a:solidFill>
                <a:srgbClr val="3333CC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2000" b="1" dirty="0" smtClean="0">
                <a:solidFill>
                  <a:schemeClr val="bg2">
                    <a:lumMod val="25000"/>
                  </a:schemeClr>
                </a:solidFill>
              </a:rPr>
              <a:t>Перечень:</a:t>
            </a:r>
            <a:endParaRPr lang="ru-RU" sz="2000" b="1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DF61C1-2457-E848-BB6B-E1DA9A549776}" type="slidenum">
              <a:rPr lang="en-US" smtClean="0"/>
              <a:pPr/>
              <a:t>9</a:t>
            </a:fld>
            <a:endParaRPr lang="en-US" dirty="0"/>
          </a:p>
        </p:txBody>
      </p:sp>
      <p:graphicFrame>
        <p:nvGraphicFramePr>
          <p:cNvPr id="7" name="Объект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6845477"/>
              </p:ext>
            </p:extLst>
          </p:nvPr>
        </p:nvGraphicFramePr>
        <p:xfrm>
          <a:off x="640160" y="7202793"/>
          <a:ext cx="1703537" cy="14373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95" name="Лист" showAsIcon="1" r:id="rId3" imgW="914400" imgH="771480" progId="Excel.Sheet.12">
                  <p:embed/>
                </p:oleObj>
              </mc:Choice>
              <mc:Fallback>
                <p:oleObj name="Лист" showAsIcon="1" r:id="rId3" imgW="914400" imgH="77148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640160" y="7202793"/>
                        <a:ext cx="1703537" cy="14373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Прямая соединительная линия 7"/>
          <p:cNvCxnSpPr/>
          <p:nvPr/>
        </p:nvCxnSpPr>
        <p:spPr>
          <a:xfrm>
            <a:off x="430116" y="1635675"/>
            <a:ext cx="7521464" cy="0"/>
          </a:xfrm>
          <a:prstGeom prst="line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0193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CmGhR_jEzypHh2Upt6z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45RnXPnJEdfjWvR5cd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dYS_QxBVv9AMhmg1tX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РоссельхозБанк (RSHB) 4x3.potx" id="{71569C02-40C5-4F2D-ADBB-DC173588E1BF}" vid="{C5B0BF87-2EF8-46AB-9EA0-C4F2E2C11BC1}"/>
    </a:ext>
  </a:extLst>
</a:theme>
</file>

<file path=ppt/theme/theme3.xml><?xml version="1.0" encoding="utf-8"?>
<a:theme xmlns:a="http://schemas.openxmlformats.org/drawingml/2006/main" name="1_RSHB">
  <a:themeElements>
    <a:clrScheme name="RSHB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00698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SHB_Template_(4x3)_РСХБ_Россельхозбанк.potx" id="{7E1B7E84-3B52-4B0E-BD93-C3CF05B086E6}" vid="{0E36FA6A-9B1B-4934-9176-EA77B10C6358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52950336B55544FA3AA4EFF86A9371E" ma:contentTypeVersion="0" ma:contentTypeDescription="Создание документа." ma:contentTypeScope="" ma:versionID="da2feb1ccafde869f4100c777494835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D012CC4-1B17-4B56-8A14-67CC35B3D14D}">
  <ds:schemaRefs>
    <ds:schemaRef ds:uri="http://schemas.openxmlformats.org/package/2006/metadata/core-properties"/>
    <ds:schemaRef ds:uri="http://www.w3.org/XML/1998/namespace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87D8DA78-67AD-4050-AD5F-7276C5D0302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5C9FAE9-6A52-4D65-B398-E06C1A766EC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67246</TotalTime>
  <Words>1878</Words>
  <Application>Microsoft Office PowerPoint</Application>
  <PresentationFormat>A3 (297x420 мм)</PresentationFormat>
  <Paragraphs>215</Paragraphs>
  <Slides>11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21" baseType="lpstr">
      <vt:lpstr>Arial</vt:lpstr>
      <vt:lpstr>Calibri</vt:lpstr>
      <vt:lpstr>Courier New</vt:lpstr>
      <vt:lpstr>Times New Roman</vt:lpstr>
      <vt:lpstr>Wingdings</vt:lpstr>
      <vt:lpstr>Тема Office</vt:lpstr>
      <vt:lpstr>Firm Format - template_Blue</vt:lpstr>
      <vt:lpstr>1_RSHB</vt:lpstr>
      <vt:lpstr>think-cell Slide</vt:lpstr>
      <vt:lpstr>Лист</vt:lpstr>
      <vt:lpstr>О льготном кредитовании в рамках Постановления Правительства от 16.05.2020 № 696 </vt:lpstr>
      <vt:lpstr>Новый механизм господдержки в рамках Постановления Правительства от 16.05.2020 № 696 </vt:lpstr>
      <vt:lpstr>Основные параметры Постановления Правительства РФ  от 16.05.2020 № 696 по льготному кредитованию (1/2)</vt:lpstr>
      <vt:lpstr>Основные параметры Постановления Правительства РФ  от 16.05.2020 № 696 по льготному кредитованию (2/2)</vt:lpstr>
      <vt:lpstr>Направления субсидирования в рамках  Постановления Правительства РФ от 16.05.2020 № 696</vt:lpstr>
      <vt:lpstr>Схема льготного кредитования в рамках Постановления Правительства от 16.05.2020 № 696 </vt:lpstr>
      <vt:lpstr>Особенности льготного кредитования Банка в рамках Постановления Правительства РФ от 16.05.2020 № 696</vt:lpstr>
      <vt:lpstr>ПРИЛОЖЕНИЯ</vt:lpstr>
      <vt:lpstr>Приложение 1 Реестр социально ориентированных некоммерческих организаций – получателей поддержки Минэкономразвития России</vt:lpstr>
      <vt:lpstr>Приложение 2 Перечень отраслей российской экономики, наиболее пострадавших в условиях ухудшения ситуации в результате распространения новой коронавирусной инфекции</vt:lpstr>
      <vt:lpstr>Приложение 3 Перечень отраслей российской экономики, требующих поддержки для возобновления деятельности (приложение 2 к ПП 696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айгелова Жанна Урынбасаровна</dc:creator>
  <cp:lastModifiedBy>Чениб Бэлла Руслановна</cp:lastModifiedBy>
  <cp:revision>2466</cp:revision>
  <cp:lastPrinted>2020-07-17T12:13:51Z</cp:lastPrinted>
  <dcterms:created xsi:type="dcterms:W3CDTF">2017-07-11T13:13:02Z</dcterms:created>
  <dcterms:modified xsi:type="dcterms:W3CDTF">2020-07-21T07:3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2950336B55544FA3AA4EFF86A9371E</vt:lpwstr>
  </property>
</Properties>
</file>